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840" r:id="rId2"/>
    <p:sldId id="275" r:id="rId3"/>
    <p:sldId id="842" r:id="rId4"/>
    <p:sldId id="841" r:id="rId5"/>
    <p:sldId id="845" r:id="rId6"/>
    <p:sldId id="846" r:id="rId7"/>
    <p:sldId id="847" r:id="rId8"/>
    <p:sldId id="843" r:id="rId9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C1DA"/>
    <a:srgbClr val="4882CA"/>
    <a:srgbClr val="056AA4"/>
    <a:srgbClr val="046DA7"/>
    <a:srgbClr val="1D2D61"/>
    <a:srgbClr val="365597"/>
    <a:srgbClr val="2C4488"/>
    <a:srgbClr val="304B8F"/>
    <a:srgbClr val="0F4274"/>
    <a:srgbClr val="113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93703" autoAdjust="0"/>
  </p:normalViewPr>
  <p:slideViewPr>
    <p:cSldViewPr snapToGrid="0" snapToObjects="1">
      <p:cViewPr varScale="1">
        <p:scale>
          <a:sx n="103" d="100"/>
          <a:sy n="103" d="100"/>
        </p:scale>
        <p:origin x="1104" y="1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D8DA2B-CDBE-1C4C-9614-52733C7A4CA2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0C78C2-F9D0-9742-BD27-9017CFD1593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0273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198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0026651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88895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347491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DFDD0-3E0F-0EDF-8807-7120F4814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697E26F-35A2-B9BA-8CB7-D3051C99B2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C0D6C58-8064-FC8D-20A0-4D54DBB790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70BC96C-A0F7-366B-E7EA-0F10B3B2BE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363638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831F0-701A-1E0E-4A47-5029552CF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8F8D1E6-E834-81E1-9F3A-E450C52B01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EB55F38-80CA-2B8A-733C-85C4A96E4C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9A7741-415C-87B4-6A59-0B69315E1D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869686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831F0-701A-1E0E-4A47-5029552CF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8F8D1E6-E834-81E1-9F3A-E450C52B01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EB55F38-80CA-2B8A-733C-85C4A96E4C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9A7741-415C-87B4-6A59-0B69315E1D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6126909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26290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AB9A7E-2C71-F74B-8A4B-D09299658F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571AA206-5190-9741-A769-4D4BBE8A4D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B452BFC-9CFE-3349-98F9-D46E86293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180730C-3908-6D4F-A810-367FAEF4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854FA5B-733A-2146-AF2D-E1861BAB9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589787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561FD8B-FA58-9E41-9B91-0C5ECEF58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EC36E47-B507-FE4D-B008-89AFD07745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AEDA6A0-0EAC-A94D-9239-D1C20CEBD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CBE3752-6A61-744D-89AD-300CC9E0E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63F82D-4851-AB47-AA58-476C216C2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17833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79AB5B7-CC19-0B4F-8ED5-42275FED51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64B2E6F-8606-5E45-B705-60F15020CC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FBBB380-9A3A-6545-8BC9-7E3A5D879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2807945-50E5-364B-B341-0E625DE69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AADE9B0-464F-E845-B747-2AB3C6373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123471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18A0447-92A1-7745-AA13-90DCB91BD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171C308-B2C8-4F48-8738-BACAE813DD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3902490-5800-2543-8D71-41543E9A4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8DE668A-A200-1746-BA2A-92CC4F655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CF60453-5058-7748-8E67-56BEE0195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448056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9391BC3-1EE6-0A47-838E-A8FE9246A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950A8A8-5BC2-8241-818B-29078FACD4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16B66EC-E5E0-2C46-BA19-FF15B2F65F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EF996F9-B7EB-054B-9DD8-73DD852A3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3E0C81A-2F0D-5849-99B5-4FC8A72E5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414609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B440E68-142E-9C41-97CF-F377F967B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7230E3B-E7FE-F345-BB3A-FD0FA5EA8C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A12033D2-7D1A-9B46-8029-C6ECC05CB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A477F32-181E-3D42-B356-97E781CEF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28886E6-A080-E048-8848-A5B96F29A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E5C0A24-B1C4-C245-B206-CB812AB00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66477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923B1B-D09D-2042-A921-A1783B815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01E8E89-7EE2-8746-AB47-ABF54DB05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20C897-97C9-A640-841C-1D93E1F369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F14E91C6-0B17-354F-8E61-1A889821F3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DD25E8A-F38D-604F-9281-69754C36AF8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A49402FF-4A7A-BD48-A7FE-1AFDC6400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AE99608-8DE7-504F-8743-23FAA4EC2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6285200-9462-4A44-A7B8-2943A90E2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607108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EB1CBBA-20F7-F745-B984-D96684E17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EB6B4CA-DDDE-A948-AAEA-7DA0BB4F7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BD69D53E-27B2-8144-9B00-8B6BE0C6C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FA569BB-16BC-ED40-B8CC-7A0CBD13A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29855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0FF8E6C8-BE04-784A-A6E5-AFCDF33E1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D8FDBAC-A2A4-0D4F-99C8-717C1A007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56769F-6405-DD4C-8594-501A14E52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18067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E99741-891A-D24D-A2E9-59FF3E270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F7EF378-5FD3-864A-8CD7-DF45ED8E6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F455E06-130D-1947-8A96-C4316FF548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5386CD6-E332-8042-9D32-8904E1408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947DD91-F1D7-8A41-8DCA-4AF54CDA5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ED9696E-098E-1C42-9505-B07EDA0F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80645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3F0805C-F427-7C4C-B29F-52B73823D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8E87F928-E6C4-7941-847D-63FF17C115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44BF0BC-23C5-7641-95D2-7EE205A3F4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4C4EA68-9298-2445-AF53-B54CDD9F05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80BE0D3-5C77-0F4E-AF76-F11730F67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05465B3-CEA2-454B-8069-382F3B8EE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3587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2CF8B7A4-597F-E944-98A9-2285C5FDA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1EB33C8-F448-3143-BB6E-8572068D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167CEBA-F4C4-BF41-BD1D-62B4066837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5C5A27-84AE-1744-A870-80747435CB69}" type="datetimeFigureOut">
              <a:rPr kumimoji="1" lang="ko-KR" altLang="en-US" smtClean="0"/>
              <a:t>2025-02-23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413B8B3-BF6C-BF45-93FA-11BFF69C4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D30A3ED-B8CA-4F41-B5DC-E98DCFED54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65527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10" Type="http://schemas.openxmlformats.org/officeDocument/2006/relationships/image" Target="../media/image10.png"/><Relationship Id="rId4" Type="http://schemas.openxmlformats.org/officeDocument/2006/relationships/image" Target="../media/image5.png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4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3.png"/><Relationship Id="rId10" Type="http://schemas.openxmlformats.org/officeDocument/2006/relationships/image" Target="../media/image15.png"/><Relationship Id="rId4" Type="http://schemas.openxmlformats.org/officeDocument/2006/relationships/image" Target="../media/image5.png"/><Relationship Id="rId9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8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AA348D11-4335-4BFC-AAFD-A5760534274D}"/>
              </a:ext>
            </a:extLst>
          </p:cNvPr>
          <p:cNvSpPr/>
          <p:nvPr/>
        </p:nvSpPr>
        <p:spPr>
          <a:xfrm>
            <a:off x="697230" y="423143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8536A257-573E-4D42-8F1F-E732F2037C3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104" b="39548"/>
          <a:stretch/>
        </p:blipFill>
        <p:spPr>
          <a:xfrm>
            <a:off x="1" y="5352"/>
            <a:ext cx="12191999" cy="3727048"/>
          </a:xfrm>
          <a:custGeom>
            <a:avLst/>
            <a:gdLst>
              <a:gd name="connsiteX0" fmla="*/ 0 w 12191999"/>
              <a:gd name="connsiteY0" fmla="*/ 0 h 3727048"/>
              <a:gd name="connsiteX1" fmla="*/ 12191999 w 12191999"/>
              <a:gd name="connsiteY1" fmla="*/ 0 h 3727048"/>
              <a:gd name="connsiteX2" fmla="*/ 12191999 w 12191999"/>
              <a:gd name="connsiteY2" fmla="*/ 3727048 h 3727048"/>
              <a:gd name="connsiteX3" fmla="*/ 6006470 w 12191999"/>
              <a:gd name="connsiteY3" fmla="*/ 3727048 h 3727048"/>
              <a:gd name="connsiteX4" fmla="*/ 3296918 w 12191999"/>
              <a:gd name="connsiteY4" fmla="*/ 2486026 h 3727048"/>
              <a:gd name="connsiteX5" fmla="*/ 587367 w 12191999"/>
              <a:gd name="connsiteY5" fmla="*/ 3727048 h 3727048"/>
              <a:gd name="connsiteX6" fmla="*/ 0 w 12191999"/>
              <a:gd name="connsiteY6" fmla="*/ 3727048 h 372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27048">
                <a:moveTo>
                  <a:pt x="0" y="0"/>
                </a:moveTo>
                <a:lnTo>
                  <a:pt x="12191999" y="0"/>
                </a:lnTo>
                <a:lnTo>
                  <a:pt x="12191999" y="3727048"/>
                </a:lnTo>
                <a:lnTo>
                  <a:pt x="6006470" y="3727048"/>
                </a:lnTo>
                <a:lnTo>
                  <a:pt x="3296918" y="2486026"/>
                </a:lnTo>
                <a:lnTo>
                  <a:pt x="587367" y="3727048"/>
                </a:lnTo>
                <a:lnTo>
                  <a:pt x="0" y="3727048"/>
                </a:lnTo>
                <a:close/>
              </a:path>
            </a:pathLst>
          </a:custGeom>
          <a:solidFill>
            <a:srgbClr val="056AA4">
              <a:alpha val="76000"/>
            </a:srgbClr>
          </a:solidFill>
        </p:spPr>
      </p:pic>
      <p:sp>
        <p:nvSpPr>
          <p:cNvPr id="13" name="평행 사변형 12">
            <a:extLst>
              <a:ext uri="{FF2B5EF4-FFF2-40B4-BE49-F238E27FC236}">
                <a16:creationId xmlns:a16="http://schemas.microsoft.com/office/drawing/2014/main" id="{CA1EBD39-6C4C-4828-8916-96442473B53E}"/>
              </a:ext>
            </a:extLst>
          </p:cNvPr>
          <p:cNvSpPr/>
          <p:nvPr/>
        </p:nvSpPr>
        <p:spPr>
          <a:xfrm rot="7616888" flipV="1">
            <a:off x="4352666" y="921529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24970" y="41483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각 삼각형 10">
            <a:extLst>
              <a:ext uri="{FF2B5EF4-FFF2-40B4-BE49-F238E27FC236}">
                <a16:creationId xmlns:a16="http://schemas.microsoft.com/office/drawing/2014/main" id="{C26AA14B-2FE4-4F17-9BAC-C48BC50F4AC3}"/>
              </a:ext>
            </a:extLst>
          </p:cNvPr>
          <p:cNvSpPr/>
          <p:nvPr/>
        </p:nvSpPr>
        <p:spPr>
          <a:xfrm rot="5400000">
            <a:off x="883920" y="1363980"/>
            <a:ext cx="205740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7400" h="3825240">
                <a:moveTo>
                  <a:pt x="960120" y="3825240"/>
                </a:moveTo>
                <a:lnTo>
                  <a:pt x="0" y="0"/>
                </a:lnTo>
                <a:lnTo>
                  <a:pt x="2057400" y="3825240"/>
                </a:lnTo>
                <a:lnTo>
                  <a:pt x="96012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자유형: 도형 33">
            <a:extLst>
              <a:ext uri="{FF2B5EF4-FFF2-40B4-BE49-F238E27FC236}">
                <a16:creationId xmlns:a16="http://schemas.microsoft.com/office/drawing/2014/main" id="{E51DD70F-DE42-422C-A7E1-581FAE35F361}"/>
              </a:ext>
            </a:extLst>
          </p:cNvPr>
          <p:cNvSpPr/>
          <p:nvPr/>
        </p:nvSpPr>
        <p:spPr>
          <a:xfrm rot="3218114">
            <a:off x="8141045" y="588137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5E7A525-CB26-4BB9-B788-94D77C611E1B}"/>
              </a:ext>
            </a:extLst>
          </p:cNvPr>
          <p:cNvSpPr/>
          <p:nvPr/>
        </p:nvSpPr>
        <p:spPr>
          <a:xfrm>
            <a:off x="0" y="0"/>
            <a:ext cx="464820" cy="392992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455D1F6-AC98-42A7-A49F-B9B8979EFB9C}"/>
              </a:ext>
            </a:extLst>
          </p:cNvPr>
          <p:cNvSpPr/>
          <p:nvPr/>
        </p:nvSpPr>
        <p:spPr>
          <a:xfrm rot="5400000">
            <a:off x="5905500" y="-5440680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A32E76-D9AF-457D-A849-4CE6AA3C8A41}"/>
              </a:ext>
            </a:extLst>
          </p:cNvPr>
          <p:cNvSpPr/>
          <p:nvPr/>
        </p:nvSpPr>
        <p:spPr>
          <a:xfrm>
            <a:off x="11727180" y="0"/>
            <a:ext cx="464820" cy="372704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4EBCAD0-28BF-4F41-9FF9-24637DB83F93}"/>
              </a:ext>
            </a:extLst>
          </p:cNvPr>
          <p:cNvSpPr/>
          <p:nvPr/>
        </p:nvSpPr>
        <p:spPr>
          <a:xfrm>
            <a:off x="11727180" y="3727048"/>
            <a:ext cx="464820" cy="124430"/>
          </a:xfrm>
          <a:custGeom>
            <a:avLst/>
            <a:gdLst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64820 w 464820"/>
              <a:gd name="connsiteY2" fmla="*/ 124430 h 124430"/>
              <a:gd name="connsiteX3" fmla="*/ 0 w 464820"/>
              <a:gd name="connsiteY3" fmla="*/ 124430 h 124430"/>
              <a:gd name="connsiteX4" fmla="*/ 0 w 464820"/>
              <a:gd name="connsiteY4" fmla="*/ 0 h 124430"/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57200 w 464820"/>
              <a:gd name="connsiteY2" fmla="*/ 17750 h 124430"/>
              <a:gd name="connsiteX3" fmla="*/ 0 w 464820"/>
              <a:gd name="connsiteY3" fmla="*/ 124430 h 124430"/>
              <a:gd name="connsiteX4" fmla="*/ 0 w 464820"/>
              <a:gd name="connsiteY4" fmla="*/ 0 h 12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4430">
                <a:moveTo>
                  <a:pt x="0" y="0"/>
                </a:moveTo>
                <a:lnTo>
                  <a:pt x="464820" y="0"/>
                </a:lnTo>
                <a:lnTo>
                  <a:pt x="457200" y="17750"/>
                </a:lnTo>
                <a:lnTo>
                  <a:pt x="0" y="12443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6408E02-E0E7-4925-BF36-8FE41C7F05B0}"/>
              </a:ext>
            </a:extLst>
          </p:cNvPr>
          <p:cNvSpPr/>
          <p:nvPr/>
        </p:nvSpPr>
        <p:spPr>
          <a:xfrm>
            <a:off x="0" y="3929920"/>
            <a:ext cx="464820" cy="399681"/>
          </a:xfrm>
          <a:custGeom>
            <a:avLst/>
            <a:gdLst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64820 w 464820"/>
              <a:gd name="connsiteY2" fmla="*/ 399681 h 399681"/>
              <a:gd name="connsiteX3" fmla="*/ 0 w 464820"/>
              <a:gd name="connsiteY3" fmla="*/ 399681 h 399681"/>
              <a:gd name="connsiteX4" fmla="*/ 0 w 464820"/>
              <a:gd name="connsiteY4" fmla="*/ 0 h 399681"/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55295 w 464820"/>
              <a:gd name="connsiteY2" fmla="*/ 140601 h 399681"/>
              <a:gd name="connsiteX3" fmla="*/ 0 w 464820"/>
              <a:gd name="connsiteY3" fmla="*/ 399681 h 399681"/>
              <a:gd name="connsiteX4" fmla="*/ 0 w 464820"/>
              <a:gd name="connsiteY4" fmla="*/ 0 h 399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399681">
                <a:moveTo>
                  <a:pt x="0" y="0"/>
                </a:moveTo>
                <a:lnTo>
                  <a:pt x="464820" y="0"/>
                </a:lnTo>
                <a:lnTo>
                  <a:pt x="455295" y="140601"/>
                </a:lnTo>
                <a:lnTo>
                  <a:pt x="0" y="39968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1017227" y="4602540"/>
            <a:ext cx="101575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dirty="0"/>
              <a:t>Chest X-rays image captioning</a:t>
            </a:r>
            <a:endParaRPr lang="ko-KR" altLang="en-US" sz="5000" dirty="0">
              <a:solidFill>
                <a:srgbClr val="1D2D6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A88A032-AB2E-4B44-861E-4A82DC9B87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87951" y="5752602"/>
            <a:ext cx="2015489" cy="7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377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17876" y="45375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ko-KR" altLang="en-US" dirty="0">
                <a:solidFill>
                  <a:schemeClr val="tx1"/>
                </a:solidFill>
              </a:rPr>
              <a:t>     </a:t>
            </a:r>
            <a:r>
              <a:rPr kumimoji="1" lang="en-US" altLang="ko-KR" dirty="0">
                <a:solidFill>
                  <a:schemeClr val="tx1"/>
                </a:solidFill>
              </a:rPr>
              <a:t>introduce</a:t>
            </a:r>
            <a:endParaRPr kumimoji="1" lang="ko-KR" altLang="en-US" dirty="0">
              <a:solidFill>
                <a:schemeClr val="tx1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573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1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2866E613-5D56-BA44-BFF0-D35221A393F1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85" name="모서리가 둥근 직사각형 84">
              <a:extLst>
                <a:ext uri="{FF2B5EF4-FFF2-40B4-BE49-F238E27FC236}">
                  <a16:creationId xmlns:a16="http://schemas.microsoft.com/office/drawing/2014/main" id="{83EECB7C-B5D7-B940-B4E0-67CC2E5F9460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6" name="모서리가 둥근 직사각형 85">
              <a:extLst>
                <a:ext uri="{FF2B5EF4-FFF2-40B4-BE49-F238E27FC236}">
                  <a16:creationId xmlns:a16="http://schemas.microsoft.com/office/drawing/2014/main" id="{7B9D4BEA-BAA9-B144-8E4A-47F5767C08FC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87" name="모서리가 둥근 직사각형 86">
              <a:extLst>
                <a:ext uri="{FF2B5EF4-FFF2-40B4-BE49-F238E27FC236}">
                  <a16:creationId xmlns:a16="http://schemas.microsoft.com/office/drawing/2014/main" id="{85F072E6-D295-B343-BCB0-96951781FB8E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88" name="모서리가 둥근 직사각형 87">
              <a:extLst>
                <a:ext uri="{FF2B5EF4-FFF2-40B4-BE49-F238E27FC236}">
                  <a16:creationId xmlns:a16="http://schemas.microsoft.com/office/drawing/2014/main" id="{8E8D3DB9-F849-4E4F-833B-EE16CE68639E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cxnSp>
        <p:nvCxnSpPr>
          <p:cNvPr id="116" name="직선 연결선[R] 115">
            <a:extLst>
              <a:ext uri="{FF2B5EF4-FFF2-40B4-BE49-F238E27FC236}">
                <a16:creationId xmlns:a16="http://schemas.microsoft.com/office/drawing/2014/main" id="{126AE1ED-42F9-DC4A-8B21-A7E89D20AD0A}"/>
              </a:ext>
            </a:extLst>
          </p:cNvPr>
          <p:cNvCxnSpPr>
            <a:cxnSpLocks/>
          </p:cNvCxnSpPr>
          <p:nvPr/>
        </p:nvCxnSpPr>
        <p:spPr>
          <a:xfrm>
            <a:off x="11785494" y="3128095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연결선[R] 116">
            <a:extLst>
              <a:ext uri="{FF2B5EF4-FFF2-40B4-BE49-F238E27FC236}">
                <a16:creationId xmlns:a16="http://schemas.microsoft.com/office/drawing/2014/main" id="{23A0A655-750E-EE4C-A01C-4A04D270B1FB}"/>
              </a:ext>
            </a:extLst>
          </p:cNvPr>
          <p:cNvCxnSpPr>
            <a:cxnSpLocks/>
          </p:cNvCxnSpPr>
          <p:nvPr/>
        </p:nvCxnSpPr>
        <p:spPr>
          <a:xfrm>
            <a:off x="11785494" y="4021439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연결선[R] 117">
            <a:extLst>
              <a:ext uri="{FF2B5EF4-FFF2-40B4-BE49-F238E27FC236}">
                <a16:creationId xmlns:a16="http://schemas.microsoft.com/office/drawing/2014/main" id="{D47AE6B8-EBC1-4C48-A273-BE50A27CCB91}"/>
              </a:ext>
            </a:extLst>
          </p:cNvPr>
          <p:cNvCxnSpPr>
            <a:cxnSpLocks/>
          </p:cNvCxnSpPr>
          <p:nvPr/>
        </p:nvCxnSpPr>
        <p:spPr>
          <a:xfrm>
            <a:off x="11785494" y="4914783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B39F484A-AC7A-A847-B1EA-203ED8C5A4DB}"/>
              </a:ext>
            </a:extLst>
          </p:cNvPr>
          <p:cNvSpPr/>
          <p:nvPr/>
        </p:nvSpPr>
        <p:spPr>
          <a:xfrm>
            <a:off x="11774369" y="1871641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E1FCD51B-4CFF-4D48-9A42-9EDC1078D4A6}"/>
              </a:ext>
            </a:extLst>
          </p:cNvPr>
          <p:cNvSpPr txBox="1"/>
          <p:nvPr/>
        </p:nvSpPr>
        <p:spPr>
          <a:xfrm>
            <a:off x="11829560" y="2103538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FA865D97-A090-194C-88BE-CF1FFDB5C0C6}"/>
              </a:ext>
            </a:extLst>
          </p:cNvPr>
          <p:cNvSpPr/>
          <p:nvPr/>
        </p:nvSpPr>
        <p:spPr>
          <a:xfrm>
            <a:off x="11692678" y="189179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55FF9543-9DC7-CB4A-9DEB-F12BB2CE6401}"/>
              </a:ext>
            </a:extLst>
          </p:cNvPr>
          <p:cNvSpPr/>
          <p:nvPr/>
        </p:nvSpPr>
        <p:spPr>
          <a:xfrm>
            <a:off x="11692678" y="31472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43A98D6C-8096-4D44-8AF8-1119CC9448DA}"/>
              </a:ext>
            </a:extLst>
          </p:cNvPr>
          <p:cNvSpPr/>
          <p:nvPr/>
        </p:nvSpPr>
        <p:spPr>
          <a:xfrm>
            <a:off x="11692678" y="4038192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8D958237-4DC1-544A-9CBD-397B21E3DB7A}"/>
              </a:ext>
            </a:extLst>
          </p:cNvPr>
          <p:cNvSpPr/>
          <p:nvPr/>
        </p:nvSpPr>
        <p:spPr>
          <a:xfrm>
            <a:off x="11692678" y="492462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CC386020-D104-4291-86D0-AF2AC2EBF15A}"/>
              </a:ext>
            </a:extLst>
          </p:cNvPr>
          <p:cNvSpPr/>
          <p:nvPr/>
        </p:nvSpPr>
        <p:spPr>
          <a:xfrm>
            <a:off x="2372360" y="1486994"/>
            <a:ext cx="7218449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8" name="그래픽 7" descr="막대 그래프 상향 추세 단색으로 채워진">
            <a:extLst>
              <a:ext uri="{FF2B5EF4-FFF2-40B4-BE49-F238E27FC236}">
                <a16:creationId xmlns:a16="http://schemas.microsoft.com/office/drawing/2014/main" id="{B516D054-640B-4548-A886-0BEDB81D72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88910" y="2303550"/>
            <a:ext cx="407155" cy="407155"/>
          </a:xfrm>
          <a:prstGeom prst="rect">
            <a:avLst/>
          </a:prstGeom>
        </p:spPr>
      </p:pic>
      <p:pic>
        <p:nvPicPr>
          <p:cNvPr id="10" name="그래픽 9" descr="그룹 브레인스토밍 단색으로 채워진">
            <a:extLst>
              <a:ext uri="{FF2B5EF4-FFF2-40B4-BE49-F238E27FC236}">
                <a16:creationId xmlns:a16="http://schemas.microsoft.com/office/drawing/2014/main" id="{7D6686E8-633A-4E85-895D-D923A33567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52300" y="3201603"/>
            <a:ext cx="510098" cy="510098"/>
          </a:xfrm>
          <a:prstGeom prst="rect">
            <a:avLst/>
          </a:prstGeom>
        </p:spPr>
      </p:pic>
      <p:pic>
        <p:nvPicPr>
          <p:cNvPr id="158" name="그림 157">
            <a:extLst>
              <a:ext uri="{FF2B5EF4-FFF2-40B4-BE49-F238E27FC236}">
                <a16:creationId xmlns:a16="http://schemas.microsoft.com/office/drawing/2014/main" id="{34FB8F2A-9C4E-47B6-9E19-C78F3A001D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35542327-5CF9-DA8D-B014-624347670567}"/>
              </a:ext>
            </a:extLst>
          </p:cNvPr>
          <p:cNvSpPr/>
          <p:nvPr/>
        </p:nvSpPr>
        <p:spPr>
          <a:xfrm>
            <a:off x="942215" y="1796449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tx1"/>
                </a:solidFill>
              </a:rPr>
              <a:t>실험 내용</a:t>
            </a:r>
            <a:r>
              <a:rPr lang="en-US" altLang="ko-KR" dirty="0">
                <a:solidFill>
                  <a:schemeClr val="tx1"/>
                </a:solidFill>
              </a:rPr>
              <a:t>: </a:t>
            </a:r>
            <a:r>
              <a:rPr lang="en-US" altLang="ko-KR" dirty="0" err="1">
                <a:solidFill>
                  <a:schemeClr val="tx1"/>
                </a:solidFill>
              </a:rPr>
              <a:t>Chext</a:t>
            </a:r>
            <a:r>
              <a:rPr lang="en-US" altLang="ko-KR" dirty="0">
                <a:solidFill>
                  <a:schemeClr val="tx1"/>
                </a:solidFill>
              </a:rPr>
              <a:t> x-rays(Indiana university) </a:t>
            </a:r>
            <a:r>
              <a:rPr lang="ko-KR" altLang="en-US" dirty="0">
                <a:solidFill>
                  <a:schemeClr val="tx1"/>
                </a:solidFill>
              </a:rPr>
              <a:t>이미지</a:t>
            </a:r>
            <a:r>
              <a:rPr lang="en-US" altLang="ko-KR" dirty="0">
                <a:solidFill>
                  <a:schemeClr val="tx1"/>
                </a:solidFill>
              </a:rPr>
              <a:t>(</a:t>
            </a:r>
            <a:r>
              <a:rPr lang="en-US" altLang="ko-KR" dirty="0" err="1">
                <a:solidFill>
                  <a:schemeClr val="tx1"/>
                </a:solidFill>
              </a:rPr>
              <a:t>resnet</a:t>
            </a:r>
            <a:r>
              <a:rPr lang="en-US" altLang="ko-KR" dirty="0">
                <a:solidFill>
                  <a:schemeClr val="tx1"/>
                </a:solidFill>
              </a:rPr>
              <a:t>)</a:t>
            </a:r>
            <a:r>
              <a:rPr lang="ko-KR" altLang="en-US" dirty="0">
                <a:solidFill>
                  <a:schemeClr val="tx1"/>
                </a:solidFill>
              </a:rPr>
              <a:t>를 </a:t>
            </a:r>
            <a:r>
              <a:rPr lang="en-US" altLang="ko-KR" dirty="0">
                <a:solidFill>
                  <a:schemeClr val="tx1"/>
                </a:solidFill>
              </a:rPr>
              <a:t>text(</a:t>
            </a:r>
            <a:r>
              <a:rPr lang="en-US" altLang="ko-KR" dirty="0" err="1">
                <a:solidFill>
                  <a:schemeClr val="tx1"/>
                </a:solidFill>
              </a:rPr>
              <a:t>biobert</a:t>
            </a:r>
            <a:r>
              <a:rPr lang="en-US" altLang="ko-KR" dirty="0">
                <a:solidFill>
                  <a:schemeClr val="tx1"/>
                </a:solidFill>
              </a:rPr>
              <a:t>)</a:t>
            </a:r>
            <a:r>
              <a:rPr lang="ko-KR" altLang="en-US" dirty="0">
                <a:solidFill>
                  <a:schemeClr val="tx1"/>
                </a:solidFill>
              </a:rPr>
              <a:t>로 출력하는 </a:t>
            </a:r>
            <a:r>
              <a:rPr lang="en-US" altLang="ko-KR" dirty="0">
                <a:solidFill>
                  <a:schemeClr val="tx1"/>
                </a:solidFill>
              </a:rPr>
              <a:t>Image captioning</a:t>
            </a:r>
            <a:r>
              <a:rPr lang="ko-KR" altLang="en-US" dirty="0">
                <a:solidFill>
                  <a:schemeClr val="tx1"/>
                </a:solidFill>
              </a:rPr>
              <a:t> 구현 하려한다</a:t>
            </a:r>
            <a:r>
              <a:rPr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sz="1500" dirty="0">
                <a:solidFill>
                  <a:schemeClr val="tx1"/>
                </a:solidFill>
              </a:rPr>
              <a:t>현재 진행 상황</a:t>
            </a:r>
            <a:endParaRPr lang="en-US" altLang="ko-KR" sz="15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sz="1500" dirty="0">
                <a:solidFill>
                  <a:schemeClr val="tx1"/>
                </a:solidFill>
              </a:rPr>
              <a:t>1. Frontal </a:t>
            </a:r>
            <a:r>
              <a:rPr kumimoji="1" lang="ko-KR" altLang="en-US" sz="15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500" dirty="0">
                <a:solidFill>
                  <a:schemeClr val="tx1"/>
                </a:solidFill>
              </a:rPr>
              <a:t>resnet50</a:t>
            </a:r>
            <a:r>
              <a:rPr kumimoji="1" lang="ko-KR" altLang="en-US" sz="1500" dirty="0">
                <a:solidFill>
                  <a:schemeClr val="tx1"/>
                </a:solidFill>
              </a:rPr>
              <a:t>으로 </a:t>
            </a:r>
            <a:r>
              <a:rPr kumimoji="1" lang="en-US" altLang="ko-KR" sz="1500" dirty="0">
                <a:solidFill>
                  <a:schemeClr val="tx1"/>
                </a:solidFill>
              </a:rPr>
              <a:t>pre-training, fine-tuning</a:t>
            </a:r>
            <a:r>
              <a:rPr kumimoji="1" lang="ko-KR" altLang="en-US" sz="1500" dirty="0">
                <a:solidFill>
                  <a:schemeClr val="tx1"/>
                </a:solidFill>
              </a:rPr>
              <a:t>을 실행 후 </a:t>
            </a:r>
            <a:r>
              <a:rPr kumimoji="1" lang="en-US" altLang="ko-KR" sz="1500" dirty="0">
                <a:solidFill>
                  <a:schemeClr val="tx1"/>
                </a:solidFill>
              </a:rPr>
              <a:t>pre-training</a:t>
            </a:r>
            <a:r>
              <a:rPr kumimoji="1" lang="ko-KR" altLang="en-US" sz="1500" dirty="0">
                <a:solidFill>
                  <a:schemeClr val="tx1"/>
                </a:solidFill>
              </a:rPr>
              <a:t>을 적용하지 않는 모델과 성능 분석</a:t>
            </a:r>
            <a:endParaRPr kumimoji="1" lang="en-US" altLang="ko-KR" sz="15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sz="1500" dirty="0">
                <a:solidFill>
                  <a:schemeClr val="tx1"/>
                </a:solidFill>
              </a:rPr>
              <a:t>2. Frontal </a:t>
            </a:r>
            <a:r>
              <a:rPr kumimoji="1" lang="ko-KR" altLang="en-US" sz="15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500" dirty="0" err="1">
                <a:solidFill>
                  <a:schemeClr val="tx1"/>
                </a:solidFill>
              </a:rPr>
              <a:t>bioBert</a:t>
            </a:r>
            <a:r>
              <a:rPr kumimoji="1" lang="ko-KR" altLang="en-US" sz="1500" dirty="0">
                <a:solidFill>
                  <a:schemeClr val="tx1"/>
                </a:solidFill>
              </a:rPr>
              <a:t>를 이용하여 </a:t>
            </a:r>
            <a:r>
              <a:rPr kumimoji="1" lang="en-US" altLang="ko-KR" sz="1500" dirty="0">
                <a:solidFill>
                  <a:schemeClr val="tx1"/>
                </a:solidFill>
              </a:rPr>
              <a:t>MLM </a:t>
            </a:r>
            <a:r>
              <a:rPr kumimoji="1" lang="ko-KR" altLang="en-US" sz="1500" dirty="0">
                <a:solidFill>
                  <a:schemeClr val="tx1"/>
                </a:solidFill>
              </a:rPr>
              <a:t>구현 및 </a:t>
            </a:r>
            <a:r>
              <a:rPr kumimoji="1" lang="en-US" altLang="ko-KR" sz="1500" dirty="0">
                <a:solidFill>
                  <a:schemeClr val="tx1"/>
                </a:solidFill>
              </a:rPr>
              <a:t>masked token </a:t>
            </a:r>
            <a:r>
              <a:rPr kumimoji="1" lang="ko-KR" altLang="en-US" sz="1500" dirty="0">
                <a:solidFill>
                  <a:schemeClr val="tx1"/>
                </a:solidFill>
              </a:rPr>
              <a:t>예측 학습</a:t>
            </a:r>
          </a:p>
        </p:txBody>
      </p:sp>
      <p:sp>
        <p:nvSpPr>
          <p:cNvPr id="2" name="AutoShape 2" descr="업로드한 이미지">
            <a:extLst>
              <a:ext uri="{FF2B5EF4-FFF2-40B4-BE49-F238E27FC236}">
                <a16:creationId xmlns:a16="http://schemas.microsoft.com/office/drawing/2014/main" id="{7040AA4D-0894-1C17-9337-FADE49AD585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5" name="AutoShape 6" descr="업로드한 이미지">
            <a:extLst>
              <a:ext uri="{FF2B5EF4-FFF2-40B4-BE49-F238E27FC236}">
                <a16:creationId xmlns:a16="http://schemas.microsoft.com/office/drawing/2014/main" id="{6B068385-118B-4A2E-6FFB-48382FFB51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35" name="그림 34" descr="텍스트, 스크린샷, 폰트, 플래시 메모리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BEF2014A-72EF-6DCA-6576-CED57ED8DF7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99304" y="2442352"/>
            <a:ext cx="8529748" cy="2743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8396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49873" y="380426"/>
            <a:ext cx="52456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 </a:t>
            </a:r>
            <a:r>
              <a:rPr kumimoji="1" lang="ko-KR" altLang="en-US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실험 과정</a:t>
            </a: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68492" y="150006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cxnSp>
        <p:nvCxnSpPr>
          <p:cNvPr id="193" name="직선 연결선 57">
            <a:extLst>
              <a:ext uri="{FF2B5EF4-FFF2-40B4-BE49-F238E27FC236}">
                <a16:creationId xmlns:a16="http://schemas.microsoft.com/office/drawing/2014/main" id="{5915401D-91B7-4054-B8A6-A88C9C16D201}"/>
              </a:ext>
            </a:extLst>
          </p:cNvPr>
          <p:cNvCxnSpPr/>
          <p:nvPr/>
        </p:nvCxnSpPr>
        <p:spPr>
          <a:xfrm>
            <a:off x="7419444" y="2542011"/>
            <a:ext cx="0" cy="2918158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2" name="그래픽 181" descr="자물쇠 단색으로 채워진">
            <a:extLst>
              <a:ext uri="{FF2B5EF4-FFF2-40B4-BE49-F238E27FC236}">
                <a16:creationId xmlns:a16="http://schemas.microsoft.com/office/drawing/2014/main" id="{2458B029-A618-4D53-A06E-EC1AE80808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34276" y="4558128"/>
            <a:ext cx="362000" cy="362000"/>
          </a:xfrm>
          <a:prstGeom prst="rect">
            <a:avLst/>
          </a:prstGeom>
        </p:spPr>
      </p:pic>
      <p:pic>
        <p:nvPicPr>
          <p:cNvPr id="192" name="그래픽 191" descr="서적 단색으로 채워진">
            <a:extLst>
              <a:ext uri="{FF2B5EF4-FFF2-40B4-BE49-F238E27FC236}">
                <a16:creationId xmlns:a16="http://schemas.microsoft.com/office/drawing/2014/main" id="{4C514C4E-6B00-4CF4-AE7A-C340E1E028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5041" y="2352177"/>
            <a:ext cx="267017" cy="267017"/>
          </a:xfrm>
          <a:prstGeom prst="rect">
            <a:avLst/>
          </a:prstGeom>
        </p:spPr>
      </p:pic>
      <p:cxnSp>
        <p:nvCxnSpPr>
          <p:cNvPr id="208" name="직선 연결선[R] 116">
            <a:extLst>
              <a:ext uri="{FF2B5EF4-FFF2-40B4-BE49-F238E27FC236}">
                <a16:creationId xmlns:a16="http://schemas.microsoft.com/office/drawing/2014/main" id="{C4FA6C6B-4CB5-49DF-BB08-5730A521951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F741B41B-5570-4BCD-B038-2A0070561FF2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4E58C71C-4305-4849-896B-DC0DBFD2DE90}"/>
              </a:ext>
            </a:extLst>
          </p:cNvPr>
          <p:cNvSpPr/>
          <p:nvPr/>
        </p:nvSpPr>
        <p:spPr>
          <a:xfrm>
            <a:off x="11692678" y="3768053"/>
            <a:ext cx="4855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  <a:p>
            <a:pPr algn="ctr"/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26" name="직사각형 225">
            <a:extLst>
              <a:ext uri="{FF2B5EF4-FFF2-40B4-BE49-F238E27FC236}">
                <a16:creationId xmlns:a16="http://schemas.microsoft.com/office/drawing/2014/main" id="{88FB0E76-AAE0-4457-8C7E-681475670DA5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48" name="직선 연결선[R] 111">
            <a:extLst>
              <a:ext uri="{FF2B5EF4-FFF2-40B4-BE49-F238E27FC236}">
                <a16:creationId xmlns:a16="http://schemas.microsoft.com/office/drawing/2014/main" id="{71ACFEC1-B430-4801-BF38-FE9376557F49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직선 연결선[R] 112">
            <a:extLst>
              <a:ext uri="{FF2B5EF4-FFF2-40B4-BE49-F238E27FC236}">
                <a16:creationId xmlns:a16="http://schemas.microsoft.com/office/drawing/2014/main" id="{D49DDF53-EEE4-4CF4-B9F1-1224A7A2A7BB}"/>
              </a:ext>
            </a:extLst>
          </p:cNvPr>
          <p:cNvCxnSpPr>
            <a:cxnSpLocks/>
          </p:cNvCxnSpPr>
          <p:nvPr/>
        </p:nvCxnSpPr>
        <p:spPr>
          <a:xfrm>
            <a:off x="11785494" y="375905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직사각형 262">
            <a:extLst>
              <a:ext uri="{FF2B5EF4-FFF2-40B4-BE49-F238E27FC236}">
                <a16:creationId xmlns:a16="http://schemas.microsoft.com/office/drawing/2014/main" id="{D09F0CBB-7FCA-49D6-81AA-2C60E149E3FD}"/>
              </a:ext>
            </a:extLst>
          </p:cNvPr>
          <p:cNvSpPr/>
          <p:nvPr/>
        </p:nvSpPr>
        <p:spPr>
          <a:xfrm>
            <a:off x="11789546" y="4763042"/>
            <a:ext cx="402454" cy="1207161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76CB37E-5A7E-42B4-BC61-6FF47FAA7055}"/>
              </a:ext>
            </a:extLst>
          </p:cNvPr>
          <p:cNvSpPr txBox="1"/>
          <p:nvPr/>
        </p:nvSpPr>
        <p:spPr>
          <a:xfrm>
            <a:off x="11829560" y="5017150"/>
            <a:ext cx="2160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별첨</a:t>
            </a:r>
            <a:endParaRPr kumimoji="1" lang="en-US" altLang="ko-KR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66ACCF17-061D-4831-B2D1-2F73437D1C64}"/>
              </a:ext>
            </a:extLst>
          </p:cNvPr>
          <p:cNvSpPr/>
          <p:nvPr/>
        </p:nvSpPr>
        <p:spPr>
          <a:xfrm>
            <a:off x="11692678" y="480540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</a:p>
        </p:txBody>
      </p:sp>
      <p:grpSp>
        <p:nvGrpSpPr>
          <p:cNvPr id="266" name="그룹 265">
            <a:extLst>
              <a:ext uri="{FF2B5EF4-FFF2-40B4-BE49-F238E27FC236}">
                <a16:creationId xmlns:a16="http://schemas.microsoft.com/office/drawing/2014/main" id="{3AC59D65-3C90-466E-8A51-C4BA4B233C59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67" name="모서리가 둥근 직사각형 94">
              <a:extLst>
                <a:ext uri="{FF2B5EF4-FFF2-40B4-BE49-F238E27FC236}">
                  <a16:creationId xmlns:a16="http://schemas.microsoft.com/office/drawing/2014/main" id="{62D3BC54-6A98-4A2A-9CEE-9B20C8BD8FE3}"/>
                </a:ext>
              </a:extLst>
            </p:cNvPr>
            <p:cNvSpPr/>
            <p:nvPr/>
          </p:nvSpPr>
          <p:spPr>
            <a:xfrm>
              <a:off x="11264183" y="271844"/>
              <a:ext cx="236540" cy="133554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68" name="모서리가 둥근 직사각형 97">
              <a:extLst>
                <a:ext uri="{FF2B5EF4-FFF2-40B4-BE49-F238E27FC236}">
                  <a16:creationId xmlns:a16="http://schemas.microsoft.com/office/drawing/2014/main" id="{F8D89CB3-9488-413F-8A9E-F3FF3DB79D98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69" name="모서리가 둥근 직사각형 108">
              <a:extLst>
                <a:ext uri="{FF2B5EF4-FFF2-40B4-BE49-F238E27FC236}">
                  <a16:creationId xmlns:a16="http://schemas.microsoft.com/office/drawing/2014/main" id="{81C9E5CA-670E-4B3B-91D9-5DD392F46FB5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0" name="모서리가 둥근 직사각형 117">
              <a:extLst>
                <a:ext uri="{FF2B5EF4-FFF2-40B4-BE49-F238E27FC236}">
                  <a16:creationId xmlns:a16="http://schemas.microsoft.com/office/drawing/2014/main" id="{3057BB68-4350-46F4-BFB5-9B786900080B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713E9A0A-6C1F-2D0E-B0B9-4A988EBBD56D}"/>
              </a:ext>
            </a:extLst>
          </p:cNvPr>
          <p:cNvSpPr/>
          <p:nvPr/>
        </p:nvSpPr>
        <p:spPr>
          <a:xfrm>
            <a:off x="925830" y="1885163"/>
            <a:ext cx="1026374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sz="2000" dirty="0">
                <a:solidFill>
                  <a:schemeClr val="tx1"/>
                </a:solidFill>
              </a:rPr>
              <a:t>1. Frontal </a:t>
            </a:r>
            <a:r>
              <a:rPr kumimoji="1" lang="ko-KR" altLang="en-US" sz="20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2000" dirty="0">
                <a:solidFill>
                  <a:schemeClr val="tx1"/>
                </a:solidFill>
              </a:rPr>
              <a:t>resnet50</a:t>
            </a:r>
            <a:r>
              <a:rPr kumimoji="1" lang="ko-KR" altLang="en-US" sz="2000" dirty="0">
                <a:solidFill>
                  <a:schemeClr val="tx1"/>
                </a:solidFill>
              </a:rPr>
              <a:t>으로 </a:t>
            </a:r>
            <a:r>
              <a:rPr kumimoji="1" lang="en-US" altLang="ko-KR" sz="2000" dirty="0">
                <a:solidFill>
                  <a:schemeClr val="tx1"/>
                </a:solidFill>
              </a:rPr>
              <a:t>pre-training, fine-tuning</a:t>
            </a:r>
            <a:r>
              <a:rPr kumimoji="1" lang="ko-KR" altLang="en-US" sz="2000" dirty="0">
                <a:solidFill>
                  <a:schemeClr val="tx1"/>
                </a:solidFill>
              </a:rPr>
              <a:t>을 실행 후 </a:t>
            </a:r>
            <a:r>
              <a:rPr kumimoji="1" lang="en-US" altLang="ko-KR" sz="2000" dirty="0">
                <a:solidFill>
                  <a:schemeClr val="tx1"/>
                </a:solidFill>
              </a:rPr>
              <a:t>pre-training</a:t>
            </a:r>
            <a:r>
              <a:rPr kumimoji="1" lang="ko-KR" altLang="en-US" sz="2000" dirty="0">
                <a:solidFill>
                  <a:schemeClr val="tx1"/>
                </a:solidFill>
              </a:rPr>
              <a:t>을 적용하지 않는 모델과 성능 분석</a:t>
            </a:r>
            <a:endParaRPr kumimoji="1" lang="en-US" altLang="ko-KR" sz="2000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resnet50</a:t>
            </a:r>
            <a:r>
              <a:rPr kumimoji="1" lang="ko-KR" altLang="en-US" dirty="0">
                <a:solidFill>
                  <a:schemeClr val="tx1"/>
                </a:solidFill>
              </a:rPr>
              <a:t>으로 </a:t>
            </a:r>
            <a:r>
              <a:rPr kumimoji="1" lang="en-US" altLang="ko-KR" dirty="0">
                <a:solidFill>
                  <a:schemeClr val="tx1"/>
                </a:solidFill>
              </a:rPr>
              <a:t>pre-training(weight=‘</a:t>
            </a:r>
            <a:r>
              <a:rPr kumimoji="1" lang="en-US" altLang="ko-KR" dirty="0" err="1">
                <a:solidFill>
                  <a:schemeClr val="tx1"/>
                </a:solidFill>
              </a:rPr>
              <a:t>imagenet</a:t>
            </a:r>
            <a:r>
              <a:rPr kumimoji="1" lang="en-US" altLang="ko-KR" dirty="0">
                <a:solidFill>
                  <a:schemeClr val="tx1"/>
                </a:solidFill>
              </a:rPr>
              <a:t>’) </a:t>
            </a:r>
            <a:r>
              <a:rPr kumimoji="1" lang="ko-KR" altLang="en-US" dirty="0">
                <a:solidFill>
                  <a:schemeClr val="tx1"/>
                </a:solidFill>
              </a:rPr>
              <a:t>경우와 </a:t>
            </a:r>
            <a:r>
              <a:rPr kumimoji="1" lang="en-US" altLang="ko-KR" dirty="0">
                <a:solidFill>
                  <a:schemeClr val="tx1"/>
                </a:solidFill>
              </a:rPr>
              <a:t>pre-training</a:t>
            </a:r>
            <a:r>
              <a:rPr kumimoji="1" lang="ko-KR" altLang="en-US" dirty="0">
                <a:solidFill>
                  <a:schemeClr val="tx1"/>
                </a:solidFill>
              </a:rPr>
              <a:t>적용하지 않는 경우     </a:t>
            </a:r>
            <a:r>
              <a:rPr kumimoji="1" lang="en-US" altLang="ko-KR" dirty="0">
                <a:solidFill>
                  <a:schemeClr val="tx1"/>
                </a:solidFill>
              </a:rPr>
              <a:t>(weight=None)</a:t>
            </a:r>
            <a:r>
              <a:rPr kumimoji="1" lang="ko-KR" altLang="en-US" dirty="0">
                <a:solidFill>
                  <a:schemeClr val="tx1"/>
                </a:solidFill>
              </a:rPr>
              <a:t>으로 나눔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model</a:t>
            </a:r>
            <a:r>
              <a:rPr kumimoji="1" lang="ko-KR" altLang="en-US" dirty="0">
                <a:solidFill>
                  <a:schemeClr val="tx1"/>
                </a:solidFill>
              </a:rPr>
              <a:t>을 이진분류</a:t>
            </a:r>
            <a:r>
              <a:rPr kumimoji="1" lang="en-US" altLang="ko-KR" dirty="0">
                <a:solidFill>
                  <a:schemeClr val="tx1"/>
                </a:solidFill>
              </a:rPr>
              <a:t>(label:0,1)</a:t>
            </a:r>
            <a:r>
              <a:rPr kumimoji="1" lang="ko-KR" altLang="en-US" dirty="0">
                <a:solidFill>
                  <a:schemeClr val="tx1"/>
                </a:solidFill>
              </a:rPr>
              <a:t>하기 위해 </a:t>
            </a:r>
            <a:r>
              <a:rPr kumimoji="1" lang="en-US" altLang="ko-KR" dirty="0">
                <a:solidFill>
                  <a:schemeClr val="tx1"/>
                </a:solidFill>
              </a:rPr>
              <a:t>(</a:t>
            </a:r>
            <a:r>
              <a:rPr kumimoji="1" lang="en-US" altLang="ko-KR" dirty="0" err="1">
                <a:solidFill>
                  <a:schemeClr val="tx1"/>
                </a:solidFill>
              </a:rPr>
              <a:t>loss:bce</a:t>
            </a:r>
            <a:r>
              <a:rPr kumimoji="1" lang="en-US" altLang="ko-KR" dirty="0">
                <a:solidFill>
                  <a:schemeClr val="tx1"/>
                </a:solidFill>
              </a:rPr>
              <a:t>)</a:t>
            </a:r>
            <a:r>
              <a:rPr kumimoji="1" lang="ko-KR" altLang="en-US" dirty="0">
                <a:solidFill>
                  <a:schemeClr val="tx1"/>
                </a:solidFill>
              </a:rPr>
              <a:t>로 설정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fine-tuning </a:t>
            </a:r>
            <a:r>
              <a:rPr kumimoji="1" lang="ko-KR" altLang="en-US" dirty="0">
                <a:solidFill>
                  <a:schemeClr val="tx1"/>
                </a:solidFill>
              </a:rPr>
              <a:t>적용</a:t>
            </a:r>
            <a:r>
              <a:rPr kumimoji="1" lang="en-US" altLang="ko-KR" dirty="0">
                <a:solidFill>
                  <a:schemeClr val="tx1"/>
                </a:solidFill>
              </a:rPr>
              <a:t>(</a:t>
            </a:r>
            <a:r>
              <a:rPr kumimoji="1" lang="en-US" altLang="ko-KR" dirty="0" err="1">
                <a:solidFill>
                  <a:schemeClr val="tx1"/>
                </a:solidFill>
              </a:rPr>
              <a:t>binaray</a:t>
            </a:r>
            <a:r>
              <a:rPr kumimoji="1" lang="en-US" altLang="ko-KR" dirty="0">
                <a:solidFill>
                  <a:schemeClr val="tx1"/>
                </a:solidFill>
              </a:rPr>
              <a:t> classification</a:t>
            </a:r>
            <a:r>
              <a:rPr kumimoji="1" lang="ko-KR" altLang="en-US" dirty="0">
                <a:solidFill>
                  <a:schemeClr val="tx1"/>
                </a:solidFill>
              </a:rPr>
              <a:t>에 적합한 </a:t>
            </a:r>
            <a:r>
              <a:rPr kumimoji="1" lang="en-US" altLang="ko-KR" dirty="0">
                <a:solidFill>
                  <a:schemeClr val="tx1"/>
                </a:solidFill>
              </a:rPr>
              <a:t>layer</a:t>
            </a:r>
            <a:r>
              <a:rPr kumimoji="1" lang="ko-KR" altLang="en-US" dirty="0">
                <a:solidFill>
                  <a:schemeClr val="tx1"/>
                </a:solidFill>
              </a:rPr>
              <a:t>로 교체</a:t>
            </a:r>
            <a:r>
              <a:rPr kumimoji="1" lang="en-US" altLang="ko-KR" dirty="0">
                <a:solidFill>
                  <a:schemeClr val="tx1"/>
                </a:solidFill>
              </a:rPr>
              <a:t> , activation </a:t>
            </a:r>
            <a:r>
              <a:rPr kumimoji="1" lang="en-US" altLang="ko-KR" dirty="0" err="1">
                <a:solidFill>
                  <a:schemeClr val="tx1"/>
                </a:solidFill>
              </a:rPr>
              <a:t>function:sigmoid</a:t>
            </a:r>
            <a:r>
              <a:rPr kumimoji="1" lang="en-US" altLang="ko-KR" dirty="0">
                <a:solidFill>
                  <a:schemeClr val="tx1"/>
                </a:solidFill>
              </a:rPr>
              <a:t>)</a:t>
            </a: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</a:t>
            </a:r>
            <a:r>
              <a:rPr kumimoji="1" lang="ko-KR" altLang="en-US" dirty="0">
                <a:solidFill>
                  <a:schemeClr val="tx1"/>
                </a:solidFill>
              </a:rPr>
              <a:t>성능 분석을 위해 </a:t>
            </a:r>
            <a:r>
              <a:rPr kumimoji="1" lang="en-US" altLang="ko-KR" dirty="0">
                <a:solidFill>
                  <a:schemeClr val="tx1"/>
                </a:solidFill>
              </a:rPr>
              <a:t>accuracy,precision,recall,f1-score</a:t>
            </a:r>
            <a:r>
              <a:rPr kumimoji="1" lang="ko-KR" altLang="en-US" dirty="0">
                <a:solidFill>
                  <a:schemeClr val="tx1"/>
                </a:solidFill>
              </a:rPr>
              <a:t>값을 구함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F596B5F-2C36-19C1-6177-47CDC32876E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98765" y="5051226"/>
            <a:ext cx="2697348" cy="779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482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1300850" y="482074"/>
            <a:ext cx="10956335" cy="3312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ko-KR" altLang="en-US" sz="1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실험 과정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24430" y="190551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48A87E1-7D5D-4278-AABB-38D6B50A464F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4020C426-EC37-4A1A-AB1E-587457117BA6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E0CC7BBB-003A-4F13-B88A-D51E137D6892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F7221A5E-B4B7-4EBE-B296-8FBAF224B414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EB068123-895F-4B71-A9BB-4B673CBB8EE9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671AF624-D0A4-4B38-B316-AD246C504B73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312420E0-97F4-4454-8C2B-683D83E7FEEE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B9279471-A706-4E61-9AC0-3D1BE29DC140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E7C7BC9D-7A23-4879-88A9-5ED82043A8F0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00A95667-8AE4-433F-898C-9A408F7EF901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3EF7C602-4CC4-48CA-9CAA-23CFE4DF75BC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5DC65483-1BD2-4332-8954-9B20A4C5D73E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353DDB6B-A54F-483A-A58A-B9FF9EB7235D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5E26E753-F5BB-49B1-8F63-CECCE90889C9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A6EDE213-C1AF-4876-B2BB-61A7A769C724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2C4B4464-72FA-E203-9B29-03D20DD78348}"/>
              </a:ext>
            </a:extLst>
          </p:cNvPr>
          <p:cNvSpPr/>
          <p:nvPr/>
        </p:nvSpPr>
        <p:spPr>
          <a:xfrm>
            <a:off x="933721" y="1945200"/>
            <a:ext cx="10604836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2.</a:t>
            </a:r>
            <a:r>
              <a:rPr kumimoji="1" lang="en-US" altLang="ko-KR" sz="1800" dirty="0">
                <a:solidFill>
                  <a:schemeClr val="tx1"/>
                </a:solidFill>
              </a:rPr>
              <a:t> Frontal </a:t>
            </a:r>
            <a:r>
              <a:rPr kumimoji="1" lang="ko-KR" altLang="en-US" sz="18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dirty="0" err="1">
                <a:solidFill>
                  <a:schemeClr val="tx1"/>
                </a:solidFill>
              </a:rPr>
              <a:t>bio</a:t>
            </a:r>
            <a:r>
              <a:rPr kumimoji="1" lang="en-US" altLang="ko-KR" sz="1800" dirty="0" err="1">
                <a:solidFill>
                  <a:schemeClr val="tx1"/>
                </a:solidFill>
              </a:rPr>
              <a:t>Bert</a:t>
            </a:r>
            <a:r>
              <a:rPr kumimoji="1" lang="ko-KR" altLang="en-US" sz="1800" dirty="0">
                <a:solidFill>
                  <a:schemeClr val="tx1"/>
                </a:solidFill>
              </a:rPr>
              <a:t>를 이용하여 </a:t>
            </a:r>
            <a:r>
              <a:rPr kumimoji="1" lang="en-US" altLang="ko-KR" sz="1800" dirty="0">
                <a:solidFill>
                  <a:schemeClr val="tx1"/>
                </a:solidFill>
              </a:rPr>
              <a:t>MLM </a:t>
            </a:r>
            <a:r>
              <a:rPr kumimoji="1" lang="ko-KR" altLang="en-US" sz="1800" dirty="0">
                <a:solidFill>
                  <a:schemeClr val="tx1"/>
                </a:solidFill>
              </a:rPr>
              <a:t>구현 및 </a:t>
            </a:r>
            <a:r>
              <a:rPr kumimoji="1" lang="en-US" altLang="ko-KR" sz="1800" dirty="0">
                <a:solidFill>
                  <a:schemeClr val="tx1"/>
                </a:solidFill>
              </a:rPr>
              <a:t>masked token </a:t>
            </a:r>
            <a:r>
              <a:rPr kumimoji="1" lang="ko-KR" altLang="en-US" sz="1800" dirty="0">
                <a:solidFill>
                  <a:schemeClr val="tx1"/>
                </a:solidFill>
              </a:rPr>
              <a:t>예측 학습</a:t>
            </a:r>
            <a:endParaRPr kumimoji="1" lang="en-US" altLang="ko-KR" sz="1800" dirty="0">
              <a:solidFill>
                <a:schemeClr val="tx1"/>
              </a:solidFill>
            </a:endParaRPr>
          </a:p>
          <a:p>
            <a:pPr marL="171450" marR="0" lvl="0" indent="-17145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indings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와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mpression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을 합쳐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port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를 생성하고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port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와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dication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을 </a:t>
            </a:r>
            <a:r>
              <a:rPr kumimoji="0" lang="en-US" altLang="ko-KR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iobert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( </a:t>
            </a:r>
            <a:r>
              <a:rPr kumimoji="0" lang="en-US" altLang="ko-KR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linicalbert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Arial" panose="020B0604020202020204" pitchFamily="34" charset="0"/>
              </a:rPr>
              <a:t>weight)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에 넣음</a:t>
            </a:r>
            <a:endParaRPr kumimoji="0" lang="en-US" altLang="ko-KR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＂XXXX＂ 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제외한 문장에서 랜덤으로 단어 선택 →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[MASK]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로 변환 후 모델 입력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171450" marR="0" lvl="0" indent="-17145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모델이 </a:t>
            </a:r>
            <a:r>
              <a:rPr kumimoji="0" lang="ko-KR" altLang="en-US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마스킹된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부분을 예측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(MLM)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하여 원래 문장 복원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171450" marR="0" lvl="0" indent="-17145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ko-KR" altLang="en-US" sz="1200" dirty="0">
                <a:solidFill>
                  <a:schemeClr val="tx1"/>
                </a:solidFill>
              </a:rPr>
              <a:t>문장 </a:t>
            </a:r>
            <a:r>
              <a:rPr lang="en-US" altLang="ko-KR" sz="1200" dirty="0">
                <a:solidFill>
                  <a:schemeClr val="tx1"/>
                </a:solidFill>
              </a:rPr>
              <a:t>100</a:t>
            </a:r>
            <a:r>
              <a:rPr lang="ko-KR" altLang="en-US" sz="1200" dirty="0">
                <a:solidFill>
                  <a:schemeClr val="tx1"/>
                </a:solidFill>
              </a:rPr>
              <a:t>개를 샘플로 해서 </a:t>
            </a:r>
            <a:r>
              <a:rPr lang="en-US" altLang="ko-KR" sz="1200" dirty="0">
                <a:solidFill>
                  <a:schemeClr val="tx1"/>
                </a:solidFill>
              </a:rPr>
              <a:t>MLM</a:t>
            </a:r>
            <a:r>
              <a:rPr lang="ko-KR" altLang="en-US" sz="1200" dirty="0">
                <a:solidFill>
                  <a:schemeClr val="tx1"/>
                </a:solidFill>
              </a:rPr>
              <a:t> 훈련 후 </a:t>
            </a:r>
            <a:r>
              <a:rPr lang="en-US" altLang="ko-KR" sz="1200" dirty="0">
                <a:solidFill>
                  <a:schemeClr val="tx1"/>
                </a:solidFill>
              </a:rPr>
              <a:t>train loss</a:t>
            </a:r>
            <a:r>
              <a:rPr lang="ko-KR" altLang="en-US" sz="1200" dirty="0">
                <a:solidFill>
                  <a:schemeClr val="tx1"/>
                </a:solidFill>
              </a:rPr>
              <a:t>측정</a:t>
            </a:r>
            <a:endParaRPr kumimoji="0" lang="en-US" altLang="ko-KR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5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1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1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ko-KR" sz="15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1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5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그림 5" descr="텍스트, 스크린샷, 폰트, 도표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24B47757-2A51-C263-72D2-B811A03490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08343" y="3429000"/>
            <a:ext cx="6230214" cy="3416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23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D05F8-5CBF-EB4F-5761-287AC5B0D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F15C4D95-484C-1642-0C89-5EE145CAD109}"/>
              </a:ext>
            </a:extLst>
          </p:cNvPr>
          <p:cNvSpPr/>
          <p:nvPr/>
        </p:nvSpPr>
        <p:spPr>
          <a:xfrm>
            <a:off x="891140" y="1817683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실험결과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1.resnet50</a:t>
            </a:r>
            <a:r>
              <a:rPr kumimoji="1" lang="ko-KR" altLang="en-US" dirty="0">
                <a:solidFill>
                  <a:schemeClr val="tx1"/>
                </a:solidFill>
              </a:rPr>
              <a:t>으로 </a:t>
            </a:r>
            <a:r>
              <a:rPr kumimoji="1" lang="en-US" altLang="ko-KR" dirty="0">
                <a:solidFill>
                  <a:schemeClr val="tx1"/>
                </a:solidFill>
              </a:rPr>
              <a:t>pre-</a:t>
            </a:r>
            <a:r>
              <a:rPr kumimoji="1" lang="en-US" altLang="ko-KR" dirty="0" err="1">
                <a:solidFill>
                  <a:schemeClr val="tx1"/>
                </a:solidFill>
              </a:rPr>
              <a:t>training,fine</a:t>
            </a:r>
            <a:r>
              <a:rPr kumimoji="1" lang="en-US" altLang="ko-KR" dirty="0">
                <a:solidFill>
                  <a:schemeClr val="tx1"/>
                </a:solidFill>
              </a:rPr>
              <a:t>-tuning</a:t>
            </a:r>
            <a:r>
              <a:rPr kumimoji="1" lang="ko-KR" altLang="en-US" dirty="0">
                <a:solidFill>
                  <a:schemeClr val="tx1"/>
                </a:solidFill>
              </a:rPr>
              <a:t>을 </a:t>
            </a:r>
            <a:r>
              <a:rPr kumimoji="1" lang="ko-KR" altLang="en-US" dirty="0" err="1">
                <a:solidFill>
                  <a:schemeClr val="tx1"/>
                </a:solidFill>
              </a:rPr>
              <a:t>실행후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pre-training</a:t>
            </a:r>
            <a:r>
              <a:rPr kumimoji="1" lang="ko-KR" altLang="en-US" dirty="0">
                <a:solidFill>
                  <a:schemeClr val="tx1"/>
                </a:solidFill>
              </a:rPr>
              <a:t>을 적용하지 않는 모델과 성능분석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-&gt;Pre-training</a:t>
            </a:r>
            <a:r>
              <a:rPr kumimoji="1" lang="ko-KR" altLang="en-US" dirty="0">
                <a:solidFill>
                  <a:schemeClr val="tx1"/>
                </a:solidFill>
              </a:rPr>
              <a:t>을 적용한 모델이 성능이 약간 높게 나왔다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          pre-trained </a:t>
            </a:r>
            <a:r>
              <a:rPr kumimoji="1" lang="ko-KR" altLang="en-US" dirty="0">
                <a:solidFill>
                  <a:schemeClr val="tx1"/>
                </a:solidFill>
              </a:rPr>
              <a:t>적용 </a:t>
            </a:r>
            <a:r>
              <a:rPr kumimoji="1" lang="en-US" altLang="ko-KR" dirty="0">
                <a:solidFill>
                  <a:schemeClr val="tx1"/>
                </a:solidFill>
              </a:rPr>
              <a:t>X                                      pre-trained </a:t>
            </a:r>
            <a:r>
              <a:rPr kumimoji="1" lang="ko-KR" altLang="en-US" dirty="0">
                <a:solidFill>
                  <a:schemeClr val="tx1"/>
                </a:solidFill>
              </a:rPr>
              <a:t>적용</a:t>
            </a:r>
            <a:r>
              <a:rPr kumimoji="1" lang="en-US" altLang="ko-KR" dirty="0">
                <a:solidFill>
                  <a:schemeClr val="tx1"/>
                </a:solidFill>
              </a:rPr>
              <a:t>(weight=‘</a:t>
            </a:r>
            <a:r>
              <a:rPr kumimoji="1" lang="en-US" altLang="ko-KR" dirty="0" err="1">
                <a:solidFill>
                  <a:schemeClr val="tx1"/>
                </a:solidFill>
              </a:rPr>
              <a:t>imagenet</a:t>
            </a:r>
            <a:r>
              <a:rPr kumimoji="1" lang="en-US" altLang="ko-KR" dirty="0">
                <a:solidFill>
                  <a:schemeClr val="tx1"/>
                </a:solidFill>
              </a:rPr>
              <a:t>’)</a:t>
            </a:r>
            <a:endParaRPr kumimoji="1" lang="ko-KR" altLang="en-US" dirty="0">
              <a:solidFill>
                <a:schemeClr val="tx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482E9AEE-77A3-286A-93BE-94ECFFB51930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77EA424F-3E5F-741E-61F6-2B6B1696008F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FA447DA9-4972-48EC-BC74-ACF4186D6FF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5B4AA511-75E5-ED10-6225-3F7A6B40E406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1B78FE48-A206-31EE-7496-B2DA403A9F8E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A7CF4CAD-116C-2045-4009-D091A995169D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6A8801D2-4234-48B6-1ABB-593AA64132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3F6C0A6-3737-3CB9-CA63-D1D9535ADDE3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3D968AB6-0077-5638-3AB4-989FD966CE15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12825696-8188-A60D-D68E-EA79C118A21B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307D67AC-45D6-0F25-6C35-9D1AF3D3E0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527549FC-1D60-40C1-EE89-9688743420D3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18EFC75C-FC2E-CD8D-2207-2D21A2BC772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B7C0C770-B82D-1832-4046-1247F51D1DB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F0872C7-5682-8886-52B9-5D523C34CAE0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990109A7-371A-540A-5E72-3364181AA1AB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7B9FB36D-211A-837F-2EEC-C53D98853893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5892384-B6CE-B86A-D9A7-5525E195CE4B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9AD24260-F8ED-07E0-3C0B-FCC7E07C2577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2D1A566-6D86-6BA0-5291-029571835B68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341FB924-78EE-6A3D-668A-86F1E519E688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BEA8EE9-3AB2-AC65-5BF2-49AE9AEE7E5B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>
                <a:solidFill>
                  <a:schemeClr val="tx1"/>
                </a:solidFill>
              </a:rPr>
              <a:t>실험결과 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2B50AA54-30B4-E035-CAFB-6487B2971D7F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5B50535B-4BEE-92D2-B997-D7249F89A5FC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4F78381-A8D2-728F-45E3-BC2008BF2B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BE1C8D7F-C0F2-9F58-BBCD-8A17F92F0A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EDF85B1E-48C0-F13E-AF57-1D99137925C2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5BC905E4-5252-C48B-0092-DBB859D7F82D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F52EF097-FDCD-058B-420B-B44B1B1BAA7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476AD09-2CDF-3CC4-FA54-A35C02DF5918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3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944B19C5-717D-FCFD-174B-244AC164E57C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6434DB36-A7D7-C666-4436-9F34552179DD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AA703441-335D-CBAB-5A54-0C354E8807C3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5E7EDFA8-2A73-9374-DED8-DC3F7EA332BE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66BD6B09-65D9-B170-96E6-A1AA45D7F4C4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1DD70ACF-DAB2-8BF4-35CD-92E45DFA8888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0C6FE8DA-8640-D66C-FF08-9DF4E549F54E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F46DA9AD-3E2E-036A-2FC1-08A45F3A749A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F247ACE6-7CB4-CCA8-79CC-A644AC8F1A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2CD9795C-FB28-EFE4-E5F3-E490810A908E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6E4010A8-230D-E060-7613-7163D25C689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ECC5740D-9693-6916-D2E0-5E69C0E141FA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5545CE6B-1F86-C7F0-434F-FC6586F06470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D6697BE8-DD0A-439A-207E-547AA34E7D1A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A325031D-CA55-3260-26C5-E04927D5A9E6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1DF12ED7-BEB8-2572-C6C2-0CC28A4047A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B4BD6B17-151C-E7B2-DDA4-5616A6D24626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A7DD81D0-534A-F003-E14E-E8041DB9FC05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9DE4628F-1925-866B-950C-17AE87DFACCA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DA81FF84-33C6-DB97-F228-6F2C8D26D8CB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053BE9DB-23C2-8FC2-7610-8E136685F95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0950590B-CD59-2F32-D2F9-872A77E04442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86BE943-AEC0-EF33-30C7-7A22CB12058B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02967DDE-962A-FC0F-F55E-E11A94CDE628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9F08644E-38CE-14AB-68AD-3879D4CCAEB5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4955182F-A0D8-FBAA-A1DC-ECFBAD7C6DA3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DB1ACAC7-2D92-E959-117A-D4FFF02BCBAF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AC27C272-F763-E444-53E7-BB70B89DD213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594E9322-EEDE-ECEA-F60C-35D4926415C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850EBCED-7EE3-6C19-C986-EB30A9A68B28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3811411-0729-FBDF-5620-AA8B0346B615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95CEB848-5A50-8CA2-93C3-6792F9EB70B2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2F1958F5-E797-5E59-ED04-0CA7333F5CDC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83756BB3-5DE0-3FEE-E313-4816E29379D5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cxnSp>
        <p:nvCxnSpPr>
          <p:cNvPr id="161" name="직선 연결선[R] 116">
            <a:extLst>
              <a:ext uri="{FF2B5EF4-FFF2-40B4-BE49-F238E27FC236}">
                <a16:creationId xmlns:a16="http://schemas.microsoft.com/office/drawing/2014/main" id="{65BF11DC-A8F5-27C2-7D40-CF0A3E8E475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직선 연결선[R] 117">
            <a:extLst>
              <a:ext uri="{FF2B5EF4-FFF2-40B4-BE49-F238E27FC236}">
                <a16:creationId xmlns:a16="http://schemas.microsoft.com/office/drawing/2014/main" id="{9C60B6FD-AE8C-B129-7407-4670D18B3E5E}"/>
              </a:ext>
            </a:extLst>
          </p:cNvPr>
          <p:cNvCxnSpPr>
            <a:cxnSpLocks/>
          </p:cNvCxnSpPr>
          <p:nvPr/>
        </p:nvCxnSpPr>
        <p:spPr>
          <a:xfrm>
            <a:off x="11785494" y="519833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BE58B3F6-FD49-3F5B-7370-7761B38EC69E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65" name="직사각형 164">
            <a:extLst>
              <a:ext uri="{FF2B5EF4-FFF2-40B4-BE49-F238E27FC236}">
                <a16:creationId xmlns:a16="http://schemas.microsoft.com/office/drawing/2014/main" id="{8642D59D-128C-71A1-5B0F-2D4D19CF7650}"/>
              </a:ext>
            </a:extLst>
          </p:cNvPr>
          <p:cNvSpPr/>
          <p:nvPr/>
        </p:nvSpPr>
        <p:spPr>
          <a:xfrm>
            <a:off x="11692678" y="425940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246A74F1-CA89-4201-251E-F3EB61DFF4CF}"/>
              </a:ext>
            </a:extLst>
          </p:cNvPr>
          <p:cNvSpPr/>
          <p:nvPr/>
        </p:nvSpPr>
        <p:spPr>
          <a:xfrm>
            <a:off x="11692678" y="5208176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cxnSp>
        <p:nvCxnSpPr>
          <p:cNvPr id="170" name="직선 연결선[R] 93">
            <a:extLst>
              <a:ext uri="{FF2B5EF4-FFF2-40B4-BE49-F238E27FC236}">
                <a16:creationId xmlns:a16="http://schemas.microsoft.com/office/drawing/2014/main" id="{C989F468-7D46-68E7-BFD2-958097F78FCC}"/>
              </a:ext>
            </a:extLst>
          </p:cNvPr>
          <p:cNvCxnSpPr>
            <a:cxnSpLocks/>
          </p:cNvCxnSpPr>
          <p:nvPr/>
        </p:nvCxnSpPr>
        <p:spPr>
          <a:xfrm>
            <a:off x="11785494" y="4195079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직사각형 170">
            <a:extLst>
              <a:ext uri="{FF2B5EF4-FFF2-40B4-BE49-F238E27FC236}">
                <a16:creationId xmlns:a16="http://schemas.microsoft.com/office/drawing/2014/main" id="{78F91282-AD97-C9C3-4A52-5B84B1D07BE0}"/>
              </a:ext>
            </a:extLst>
          </p:cNvPr>
          <p:cNvSpPr/>
          <p:nvPr/>
        </p:nvSpPr>
        <p:spPr>
          <a:xfrm>
            <a:off x="11789546" y="2916414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BA3F3ABA-9558-079C-69F3-8210746A992B}"/>
              </a:ext>
            </a:extLst>
          </p:cNvPr>
          <p:cNvSpPr txBox="1"/>
          <p:nvPr/>
        </p:nvSpPr>
        <p:spPr>
          <a:xfrm>
            <a:off x="11829560" y="3170522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</a:p>
        </p:txBody>
      </p: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77BD2997-61A3-5BC7-0B5D-7A9820DCD1C3}"/>
              </a:ext>
            </a:extLst>
          </p:cNvPr>
          <p:cNvSpPr/>
          <p:nvPr/>
        </p:nvSpPr>
        <p:spPr>
          <a:xfrm>
            <a:off x="11692678" y="29587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grpSp>
        <p:nvGrpSpPr>
          <p:cNvPr id="176" name="그룹 175">
            <a:extLst>
              <a:ext uri="{FF2B5EF4-FFF2-40B4-BE49-F238E27FC236}">
                <a16:creationId xmlns:a16="http://schemas.microsoft.com/office/drawing/2014/main" id="{FAA32EC4-D62A-A56B-2FBB-E767E60A608C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177" name="모서리가 둥근 직사각형 84">
              <a:extLst>
                <a:ext uri="{FF2B5EF4-FFF2-40B4-BE49-F238E27FC236}">
                  <a16:creationId xmlns:a16="http://schemas.microsoft.com/office/drawing/2014/main" id="{88B5EA94-0A4D-472C-D18A-313E69D56592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09" name="모서리가 둥근 직사각형 85">
              <a:extLst>
                <a:ext uri="{FF2B5EF4-FFF2-40B4-BE49-F238E27FC236}">
                  <a16:creationId xmlns:a16="http://schemas.microsoft.com/office/drawing/2014/main" id="{A95AF494-01ED-BB68-91CA-4327FF58A3A7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10" name="모서리가 둥근 직사각형 86">
              <a:extLst>
                <a:ext uri="{FF2B5EF4-FFF2-40B4-BE49-F238E27FC236}">
                  <a16:creationId xmlns:a16="http://schemas.microsoft.com/office/drawing/2014/main" id="{2997064A-B1CD-08A5-D170-A88E9ED8BEF7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11" name="모서리가 둥근 직사각형 87">
              <a:extLst>
                <a:ext uri="{FF2B5EF4-FFF2-40B4-BE49-F238E27FC236}">
                  <a16:creationId xmlns:a16="http://schemas.microsoft.com/office/drawing/2014/main" id="{2314E37D-AFF1-E280-9A15-75AFB624349C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pic>
        <p:nvPicPr>
          <p:cNvPr id="214" name="그림 213">
            <a:extLst>
              <a:ext uri="{FF2B5EF4-FFF2-40B4-BE49-F238E27FC236}">
                <a16:creationId xmlns:a16="http://schemas.microsoft.com/office/drawing/2014/main" id="{A23227F6-548E-A7BE-B439-7B27445D97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41BC923A-2AB5-F929-EECA-6742E9DB7A64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4" name="오각형[P] 102">
              <a:extLst>
                <a:ext uri="{FF2B5EF4-FFF2-40B4-BE49-F238E27FC236}">
                  <a16:creationId xmlns:a16="http://schemas.microsoft.com/office/drawing/2014/main" id="{53235A25-B43A-EABA-CF82-A73B88F01ACD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5" name="오각형[P] 103">
              <a:extLst>
                <a:ext uri="{FF2B5EF4-FFF2-40B4-BE49-F238E27FC236}">
                  <a16:creationId xmlns:a16="http://schemas.microsoft.com/office/drawing/2014/main" id="{602FE2B7-2D1B-AF52-3422-08BDACF46E4F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" name="오각형[P] 104">
              <a:extLst>
                <a:ext uri="{FF2B5EF4-FFF2-40B4-BE49-F238E27FC236}">
                  <a16:creationId xmlns:a16="http://schemas.microsoft.com/office/drawing/2014/main" id="{1A1A2627-E368-D341-EFA5-7B46082635EE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8" name="오각형[P] 105">
              <a:extLst>
                <a:ext uri="{FF2B5EF4-FFF2-40B4-BE49-F238E27FC236}">
                  <a16:creationId xmlns:a16="http://schemas.microsoft.com/office/drawing/2014/main" id="{BDE8402F-7E25-75D6-F5A9-937842F07896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pic>
        <p:nvPicPr>
          <p:cNvPr id="9" name="그림 8">
            <a:extLst>
              <a:ext uri="{FF2B5EF4-FFF2-40B4-BE49-F238E27FC236}">
                <a16:creationId xmlns:a16="http://schemas.microsoft.com/office/drawing/2014/main" id="{A02A6BE4-A7F9-016B-184C-8AAFC16258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7982" y="4517584"/>
            <a:ext cx="4284855" cy="108575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F05E5C23-7036-8489-F9E3-6C09D02DAD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1785" y="4526956"/>
            <a:ext cx="5316283" cy="107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66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9C0BE5-100A-FBF6-BEBD-0FAE33E87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5FC713DF-2982-921D-C34A-264F28955D04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AA1D7F18-6467-B973-8DB6-4708017878F8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CF737879-8DF2-C06D-E622-B4E9055B1C30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4B09DDAD-6EA1-B334-85CE-CBBD93A1C022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008B6126-9E3E-D409-5FF2-01A9E4A1B033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C564D00C-DFC0-23A1-11BA-12E766B7B86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E8F1E739-93B6-6003-C83D-D86AC1763AF7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B19E70AE-D343-69CB-C45B-4DEF84990E48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AC92E9BA-89FC-3D42-790A-8304E33BB4D0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F1435CC-AC09-18CA-6A1C-0EEE1A9C051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F07978F2-B390-FF52-C438-444AA523E3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074F1856-0283-D9AC-2CF4-DF6920EAAAB2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D0E1C3F3-E0DD-0FBC-BCED-7004D78773E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6C7450F9-ADEA-6EA4-4BA0-D2F12DC7D3E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F081FAC2-6D39-3B6C-00A3-7209DF69C37E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50DE6CD3-679E-4BF8-6E0F-2DA30DD9ECA7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4E5AAC8A-76B8-736D-4E98-36A3F2D70B59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1B03935-3412-A354-5B6C-2549A00E746F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D7849B5-D6E3-E150-5CBA-8219BF71B8EE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11BBDEBC-8FBC-B3C8-D5CF-6F0F0E98317D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20C78EE-50B4-F599-9681-06502B4A28C6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BE9F758-3359-89F9-0597-8BE572E484D0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>
                <a:solidFill>
                  <a:schemeClr val="tx1"/>
                </a:solidFill>
              </a:rPr>
              <a:t>실험 결과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10209ED-34BC-13D8-78C1-F21EBCD7F026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676D6A7-FAA0-E34B-AC8F-9CDB51911D15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29BEC8B-D90E-ED22-BB00-4C8EC560C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FD765A5-8BE4-8C01-45D1-7C0C443ECC6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8E9BB7A-0F5A-CE6F-6640-8E8CE2E4A240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0A57A042-0CE0-A803-AAAC-C60EE0971506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30BEE820-CD47-D415-C4F9-9176A786E1AF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C6A4-628B-E824-6EF0-A4B86646A7D3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3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7B2DE8B9-FFE3-EA81-5BC8-0575853F52C3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F80D44A2-DE3D-869E-2D42-ABFF0AE109DA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EAE8A6C2-74EF-62BB-BA99-F06F09858EFB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94A0B93F-5F46-75C6-F015-74D11A0EEF9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4562FFE4-F9C0-3C01-A37E-BB9647DF261A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08C4AE27-CBFC-89FF-DA6E-7FB0346A3220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7424D341-5287-53E9-54DC-7D3DBD0553F0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D25F17C2-2876-A9E7-1AA7-FA16E343DCBC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531538AB-8129-4688-DADD-2BB14D3B99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D25B61E5-16CC-D1A4-1912-287C74AF298A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1C49423D-BECD-B10C-C9B5-D63B587AF23D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346205D0-E7D3-EBC1-ACED-E7F562B79FE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912584AC-E4FD-E008-3A5F-56F7FCA04786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240FDC0B-EAD9-75DE-B4BF-9C9CB2CBE149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9D4BACAC-7E30-AD32-3287-C379016DDEE0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37F400B6-F36D-B462-9D21-EF9F713EB50A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0DB7B152-25B7-45E9-7CD7-5BD24AF1D3DD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174B751E-7AA6-8B47-59BC-51A631CFF65A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D370E111-7EAB-FE54-EB09-41803D908AEE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AB20794D-BFD9-67B8-E795-1D3017644611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5377039D-49FA-DFAC-E59E-223332DFE3AC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9E590D36-6FA2-0332-8D35-0A95843D6259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C479D9D-B492-FA9F-F56A-457DAC61D284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D8A8F99D-E3BF-103D-787B-7CCFFA38EDB4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821460D4-80FD-BFC6-DECF-3BB235D689A6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939A0B7D-B451-C833-8F72-96FC17DFF005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38FC55-8A28-6248-9E44-81C76918CE66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5150E2EA-32EC-81B2-2158-B801A56BA27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7231775F-12D6-FD22-8B80-3620E3F1F460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D2A68720-2FAA-EC5D-DD80-5C05418F7686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56E02F3-4EBE-181A-0814-A11A62DEA05E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CE9C0DF-1C0E-6687-B42E-9C206A4864CA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8F4CC526-D212-1241-4947-0225685E9E32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4AB73757-62F5-6A02-B364-E2FA65A6A661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AAF22097-3A91-AF59-A242-ADC462F837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A80ED79-B91D-DDA6-7C44-5E3FFC175BAE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AB1356FE-A980-37EC-F990-5DB46A448813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38DD1B77-3717-F2F0-02D2-9C6D2FD935B3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452F994E-5FAE-FDDE-0E29-25CBF87FBA7F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D325E0C7-4CC8-8672-E247-BBDDE484E9A3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0D02B485-5A82-48F3-8B22-5831C9A55408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23559B2C-5176-D64B-BBA3-E5965377E916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F4995BA4-D19E-0B3F-DE84-C3F8A58469A9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7A0F369C-7018-DFDB-4C05-15C3155B4CEF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DD04F2-0989-87CC-D97F-1BEF8260A689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FEA388A5-7CE3-4594-37B8-22C4EC87018E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77DC3179-1B9C-8308-C136-F1CDBFD18D54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2F6D4EBD-8C22-11C3-A35F-4F0D4F342DC2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7023BB9A-A818-90BE-64AB-AD71C6E47ED2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DCC2339E-001F-87C7-CBFF-8605645BF1FF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9235C7F5-5684-2989-BA88-C7CEF6838E74}"/>
              </a:ext>
            </a:extLst>
          </p:cNvPr>
          <p:cNvSpPr/>
          <p:nvPr/>
        </p:nvSpPr>
        <p:spPr>
          <a:xfrm>
            <a:off x="884159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dirty="0">
                <a:solidFill>
                  <a:schemeClr val="tx1"/>
                </a:solidFill>
              </a:rPr>
              <a:t>2. </a:t>
            </a:r>
            <a:r>
              <a:rPr kumimoji="1" lang="en-US" altLang="ko-KR" sz="1800" dirty="0">
                <a:solidFill>
                  <a:schemeClr val="tx1"/>
                </a:solidFill>
              </a:rPr>
              <a:t>Frontal </a:t>
            </a:r>
            <a:r>
              <a:rPr kumimoji="1" lang="ko-KR" altLang="en-US" sz="18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dirty="0" err="1">
                <a:solidFill>
                  <a:schemeClr val="tx1"/>
                </a:solidFill>
              </a:rPr>
              <a:t>bio</a:t>
            </a:r>
            <a:r>
              <a:rPr kumimoji="1" lang="en-US" altLang="ko-KR" sz="1800" dirty="0" err="1">
                <a:solidFill>
                  <a:schemeClr val="tx1"/>
                </a:solidFill>
              </a:rPr>
              <a:t>Bert</a:t>
            </a:r>
            <a:r>
              <a:rPr kumimoji="1" lang="ko-KR" altLang="en-US" sz="1800" dirty="0">
                <a:solidFill>
                  <a:schemeClr val="tx1"/>
                </a:solidFill>
              </a:rPr>
              <a:t>를 이용하여 </a:t>
            </a:r>
            <a:r>
              <a:rPr kumimoji="1" lang="en-US" altLang="ko-KR" sz="1800" dirty="0">
                <a:solidFill>
                  <a:schemeClr val="tx1"/>
                </a:solidFill>
              </a:rPr>
              <a:t>MLM </a:t>
            </a:r>
            <a:r>
              <a:rPr kumimoji="1" lang="ko-KR" altLang="en-US" sz="1800" dirty="0">
                <a:solidFill>
                  <a:schemeClr val="tx1"/>
                </a:solidFill>
              </a:rPr>
              <a:t>구현 및 </a:t>
            </a:r>
            <a:r>
              <a:rPr kumimoji="1" lang="en-US" altLang="ko-KR" sz="1800" dirty="0">
                <a:solidFill>
                  <a:schemeClr val="tx1"/>
                </a:solidFill>
              </a:rPr>
              <a:t>masked token </a:t>
            </a:r>
            <a:r>
              <a:rPr kumimoji="1" lang="ko-KR" altLang="en-US" sz="1800" dirty="0">
                <a:solidFill>
                  <a:schemeClr val="tx1"/>
                </a:solidFill>
              </a:rPr>
              <a:t>예측 학습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ko-KR" altLang="en-US" dirty="0">
              <a:solidFill>
                <a:schemeClr val="tx1"/>
              </a:solidFill>
            </a:endParaRPr>
          </a:p>
          <a:p>
            <a:endParaRPr lang="en-US" altLang="ko-KR" sz="1800" b="1" i="0" dirty="0">
              <a:solidFill>
                <a:schemeClr val="tx1"/>
              </a:solidFill>
              <a:effectLst/>
              <a:latin typeface="system-ui"/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5A10741A-F234-CF05-7B43-6015AFF02AC1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80F6E754-5527-2F3D-AB02-BB8D54DB7673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78F597A3-14F4-33CB-C2D2-BABB38111873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14B58DB9-5044-B4C3-BD73-4D509570E099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B3EEBD11-C35E-B191-D417-6E5F573CAED9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pic>
        <p:nvPicPr>
          <p:cNvPr id="27" name="그림 26">
            <a:extLst>
              <a:ext uri="{FF2B5EF4-FFF2-40B4-BE49-F238E27FC236}">
                <a16:creationId xmlns:a16="http://schemas.microsoft.com/office/drawing/2014/main" id="{3CC7FD47-F0E9-CABC-5B95-96B3B7F7CB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0876" y="4498127"/>
            <a:ext cx="8800737" cy="1939947"/>
          </a:xfrm>
          <a:prstGeom prst="rect">
            <a:avLst/>
          </a:prstGeom>
        </p:spPr>
      </p:pic>
      <p:pic>
        <p:nvPicPr>
          <p:cNvPr id="37" name="그림 36">
            <a:extLst>
              <a:ext uri="{FF2B5EF4-FFF2-40B4-BE49-F238E27FC236}">
                <a16:creationId xmlns:a16="http://schemas.microsoft.com/office/drawing/2014/main" id="{13A78626-F945-9521-32D8-6DF7DA7F03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2423" y="2547238"/>
            <a:ext cx="8321761" cy="1950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055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9C0BE5-100A-FBF6-BEBD-0FAE33E87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5FC713DF-2982-921D-C34A-264F28955D04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AA1D7F18-6467-B973-8DB6-4708017878F8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CF737879-8DF2-C06D-E622-B4E9055B1C30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4B09DDAD-6EA1-B334-85CE-CBBD93A1C022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008B6126-9E3E-D409-5FF2-01A9E4A1B033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C564D00C-DFC0-23A1-11BA-12E766B7B86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E8F1E739-93B6-6003-C83D-D86AC1763AF7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B19E70AE-D343-69CB-C45B-4DEF84990E48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AC92E9BA-89FC-3D42-790A-8304E33BB4D0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F1435CC-AC09-18CA-6A1C-0EEE1A9C051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F07978F2-B390-FF52-C438-444AA523E3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074F1856-0283-D9AC-2CF4-DF6920EAAAB2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D0E1C3F3-E0DD-0FBC-BCED-7004D78773E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6C7450F9-ADEA-6EA4-4BA0-D2F12DC7D3E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F081FAC2-6D39-3B6C-00A3-7209DF69C37E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50DE6CD3-679E-4BF8-6E0F-2DA30DD9ECA7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4E5AAC8A-76B8-736D-4E98-36A3F2D70B59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1B03935-3412-A354-5B6C-2549A00E746F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D7849B5-D6E3-E150-5CBA-8219BF71B8EE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11BBDEBC-8FBC-B3C8-D5CF-6F0F0E98317D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20C78EE-50B4-F599-9681-06502B4A28C6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BE9F758-3359-89F9-0597-8BE572E484D0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>
                <a:solidFill>
                  <a:schemeClr val="tx1"/>
                </a:solidFill>
              </a:rPr>
              <a:t>실험 결과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10209ED-34BC-13D8-78C1-F21EBCD7F026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676D6A7-FAA0-E34B-AC8F-9CDB51911D15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29BEC8B-D90E-ED22-BB00-4C8EC560C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FD765A5-8BE4-8C01-45D1-7C0C443ECC6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8E9BB7A-0F5A-CE6F-6640-8E8CE2E4A240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0A57A042-0CE0-A803-AAAC-C60EE0971506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30BEE820-CD47-D415-C4F9-9176A786E1AF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C6A4-628B-E824-6EF0-A4B86646A7D3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3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7B2DE8B9-FFE3-EA81-5BC8-0575853F52C3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F80D44A2-DE3D-869E-2D42-ABFF0AE109DA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EAE8A6C2-74EF-62BB-BA99-F06F09858EFB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94A0B93F-5F46-75C6-F015-74D11A0EEF9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4562FFE4-F9C0-3C01-A37E-BB9647DF261A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08C4AE27-CBFC-89FF-DA6E-7FB0346A3220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7424D341-5287-53E9-54DC-7D3DBD0553F0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D25F17C2-2876-A9E7-1AA7-FA16E343DCBC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531538AB-8129-4688-DADD-2BB14D3B99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D25B61E5-16CC-D1A4-1912-287C74AF298A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1C49423D-BECD-B10C-C9B5-D63B587AF23D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346205D0-E7D3-EBC1-ACED-E7F562B79FE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912584AC-E4FD-E008-3A5F-56F7FCA04786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240FDC0B-EAD9-75DE-B4BF-9C9CB2CBE149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9D4BACAC-7E30-AD32-3287-C379016DDEE0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37F400B6-F36D-B462-9D21-EF9F713EB50A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0DB7B152-25B7-45E9-7CD7-5BD24AF1D3DD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174B751E-7AA6-8B47-59BC-51A631CFF65A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D370E111-7EAB-FE54-EB09-41803D908AEE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AB20794D-BFD9-67B8-E795-1D3017644611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5377039D-49FA-DFAC-E59E-223332DFE3AC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9E590D36-6FA2-0332-8D35-0A95843D6259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C479D9D-B492-FA9F-F56A-457DAC61D284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D8A8F99D-E3BF-103D-787B-7CCFFA38EDB4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821460D4-80FD-BFC6-DECF-3BB235D689A6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939A0B7D-B451-C833-8F72-96FC17DFF005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38FC55-8A28-6248-9E44-81C76918CE66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5150E2EA-32EC-81B2-2158-B801A56BA27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7231775F-12D6-FD22-8B80-3620E3F1F460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D2A68720-2FAA-EC5D-DD80-5C05418F7686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56E02F3-4EBE-181A-0814-A11A62DEA05E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CE9C0DF-1C0E-6687-B42E-9C206A4864CA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8F4CC526-D212-1241-4947-0225685E9E32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4AB73757-62F5-6A02-B364-E2FA65A6A661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AAF22097-3A91-AF59-A242-ADC462F837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A80ED79-B91D-DDA6-7C44-5E3FFC175BAE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AB1356FE-A980-37EC-F990-5DB46A448813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38DD1B77-3717-F2F0-02D2-9C6D2FD935B3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452F994E-5FAE-FDDE-0E29-25CBF87FBA7F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D325E0C7-4CC8-8672-E247-BBDDE484E9A3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0D02B485-5A82-48F3-8B22-5831C9A55408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23559B2C-5176-D64B-BBA3-E5965377E916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F4995BA4-D19E-0B3F-DE84-C3F8A58469A9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7A0F369C-7018-DFDB-4C05-15C3155B4CEF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DD04F2-0989-87CC-D97F-1BEF8260A689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FEA388A5-7CE3-4594-37B8-22C4EC87018E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77DC3179-1B9C-8308-C136-F1CDBFD18D54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2F6D4EBD-8C22-11C3-A35F-4F0D4F342DC2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7023BB9A-A818-90BE-64AB-AD71C6E47ED2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DCC2339E-001F-87C7-CBFF-8605645BF1FF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9235C7F5-5684-2989-BA88-C7CEF6838E74}"/>
              </a:ext>
            </a:extLst>
          </p:cNvPr>
          <p:cNvSpPr/>
          <p:nvPr/>
        </p:nvSpPr>
        <p:spPr>
          <a:xfrm>
            <a:off x="884159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dirty="0">
                <a:solidFill>
                  <a:schemeClr val="tx1"/>
                </a:solidFill>
              </a:rPr>
              <a:t>2. </a:t>
            </a:r>
            <a:r>
              <a:rPr kumimoji="1" lang="en-US" altLang="ko-KR" sz="1800" dirty="0">
                <a:solidFill>
                  <a:schemeClr val="tx1"/>
                </a:solidFill>
              </a:rPr>
              <a:t>Frontal </a:t>
            </a:r>
            <a:r>
              <a:rPr kumimoji="1" lang="ko-KR" altLang="en-US" sz="1800" dirty="0">
                <a:solidFill>
                  <a:schemeClr val="tx1"/>
                </a:solidFill>
              </a:rPr>
              <a:t>이미지 가지고 </a:t>
            </a:r>
            <a:r>
              <a:rPr kumimoji="1" lang="en-US" altLang="ko-KR" sz="1800" dirty="0" err="1">
                <a:solidFill>
                  <a:schemeClr val="tx1"/>
                </a:solidFill>
              </a:rPr>
              <a:t>bioBert</a:t>
            </a:r>
            <a:r>
              <a:rPr kumimoji="1" lang="ko-KR" altLang="en-US" sz="1800" dirty="0">
                <a:solidFill>
                  <a:schemeClr val="tx1"/>
                </a:solidFill>
              </a:rPr>
              <a:t>를 이용하여 </a:t>
            </a:r>
            <a:r>
              <a:rPr kumimoji="1" lang="en-US" altLang="ko-KR" sz="1800" dirty="0">
                <a:solidFill>
                  <a:schemeClr val="tx1"/>
                </a:solidFill>
              </a:rPr>
              <a:t>MLM </a:t>
            </a:r>
            <a:r>
              <a:rPr kumimoji="1" lang="ko-KR" altLang="en-US" sz="1800" dirty="0">
                <a:solidFill>
                  <a:schemeClr val="tx1"/>
                </a:solidFill>
              </a:rPr>
              <a:t>구현 및 </a:t>
            </a:r>
            <a:r>
              <a:rPr kumimoji="1" lang="en-US" altLang="ko-KR" sz="1800" dirty="0">
                <a:solidFill>
                  <a:schemeClr val="tx1"/>
                </a:solidFill>
              </a:rPr>
              <a:t>masked token </a:t>
            </a:r>
            <a:r>
              <a:rPr kumimoji="1" lang="ko-KR" altLang="en-US" sz="1800" dirty="0">
                <a:solidFill>
                  <a:schemeClr val="tx1"/>
                </a:solidFill>
              </a:rPr>
              <a:t>예측 학습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ko-KR" altLang="en-US" dirty="0">
              <a:solidFill>
                <a:schemeClr val="tx1"/>
              </a:solidFill>
            </a:endParaRPr>
          </a:p>
          <a:p>
            <a:endParaRPr lang="en-US" altLang="ko-KR" sz="1800" b="1" i="0" dirty="0">
              <a:solidFill>
                <a:schemeClr val="tx1"/>
              </a:solidFill>
              <a:effectLst/>
              <a:latin typeface="system-ui"/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5A10741A-F234-CF05-7B43-6015AFF02AC1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80F6E754-5527-2F3D-AB02-BB8D54DB7673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78F597A3-14F4-33CB-C2D2-BABB38111873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14B58DB9-5044-B4C3-BD73-4D509570E099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B3EEBD11-C35E-B191-D417-6E5F573CAED9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pic>
        <p:nvPicPr>
          <p:cNvPr id="9" name="그림 8">
            <a:extLst>
              <a:ext uri="{FF2B5EF4-FFF2-40B4-BE49-F238E27FC236}">
                <a16:creationId xmlns:a16="http://schemas.microsoft.com/office/drawing/2014/main" id="{823CA682-60C0-7ADF-164C-1B1CE62E55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0910" y="2790318"/>
            <a:ext cx="5452070" cy="3482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16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그림 22">
            <a:extLst>
              <a:ext uri="{FF2B5EF4-FFF2-40B4-BE49-F238E27FC236}">
                <a16:creationId xmlns:a16="http://schemas.microsoft.com/office/drawing/2014/main" id="{8914FB35-D197-44DA-8E5E-E5BDF5D4F64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4011078"/>
          </a:xfrm>
          <a:custGeom>
            <a:avLst/>
            <a:gdLst>
              <a:gd name="connsiteX0" fmla="*/ 0 w 12192000"/>
              <a:gd name="connsiteY0" fmla="*/ 0 h 4011078"/>
              <a:gd name="connsiteX1" fmla="*/ 12192000 w 12192000"/>
              <a:gd name="connsiteY1" fmla="*/ 0 h 4011078"/>
              <a:gd name="connsiteX2" fmla="*/ 12192000 w 12192000"/>
              <a:gd name="connsiteY2" fmla="*/ 3428999 h 4011078"/>
              <a:gd name="connsiteX3" fmla="*/ 10857053 w 12192000"/>
              <a:gd name="connsiteY3" fmla="*/ 3428999 h 4011078"/>
              <a:gd name="connsiteX4" fmla="*/ 10857053 w 12192000"/>
              <a:gd name="connsiteY4" fmla="*/ 4011078 h 4011078"/>
              <a:gd name="connsiteX5" fmla="*/ 6373268 w 12192000"/>
              <a:gd name="connsiteY5" fmla="*/ 4011078 h 4011078"/>
              <a:gd name="connsiteX6" fmla="*/ 3268745 w 12192000"/>
              <a:gd name="connsiteY6" fmla="*/ 2531436 h 4011078"/>
              <a:gd name="connsiteX7" fmla="*/ 164221 w 12192000"/>
              <a:gd name="connsiteY7" fmla="*/ 4011078 h 4011078"/>
              <a:gd name="connsiteX8" fmla="*/ 0 w 12192000"/>
              <a:gd name="connsiteY8" fmla="*/ 4011078 h 4011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011078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10857053" y="3428999"/>
                </a:lnTo>
                <a:lnTo>
                  <a:pt x="10857053" y="4011078"/>
                </a:lnTo>
                <a:lnTo>
                  <a:pt x="6373268" y="4011078"/>
                </a:lnTo>
                <a:lnTo>
                  <a:pt x="3268745" y="2531436"/>
                </a:lnTo>
                <a:lnTo>
                  <a:pt x="164221" y="4011078"/>
                </a:lnTo>
                <a:lnTo>
                  <a:pt x="0" y="4011078"/>
                </a:lnTo>
                <a:close/>
              </a:path>
            </a:pathLst>
          </a:custGeom>
        </p:spPr>
      </p:pic>
      <p:sp>
        <p:nvSpPr>
          <p:cNvPr id="13" name="평행 사변형 12">
            <a:extLst>
              <a:ext uri="{FF2B5EF4-FFF2-40B4-BE49-F238E27FC236}">
                <a16:creationId xmlns:a16="http://schemas.microsoft.com/office/drawing/2014/main" id="{CA1EBD39-6C4C-4828-8916-96442473B53E}"/>
              </a:ext>
            </a:extLst>
          </p:cNvPr>
          <p:cNvSpPr/>
          <p:nvPr/>
        </p:nvSpPr>
        <p:spPr>
          <a:xfrm rot="7616888" flipV="1">
            <a:off x="4352666" y="921529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24970" y="41483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각 삼각형 10">
            <a:extLst>
              <a:ext uri="{FF2B5EF4-FFF2-40B4-BE49-F238E27FC236}">
                <a16:creationId xmlns:a16="http://schemas.microsoft.com/office/drawing/2014/main" id="{C26AA14B-2FE4-4F17-9BAC-C48BC50F4AC3}"/>
              </a:ext>
            </a:extLst>
          </p:cNvPr>
          <p:cNvSpPr/>
          <p:nvPr/>
        </p:nvSpPr>
        <p:spPr>
          <a:xfrm rot="5400000">
            <a:off x="883920" y="1363980"/>
            <a:ext cx="205740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7400" h="3825240">
                <a:moveTo>
                  <a:pt x="960120" y="3825240"/>
                </a:moveTo>
                <a:lnTo>
                  <a:pt x="0" y="0"/>
                </a:lnTo>
                <a:lnTo>
                  <a:pt x="2057400" y="3825240"/>
                </a:lnTo>
                <a:lnTo>
                  <a:pt x="96012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자유형: 도형 33">
            <a:extLst>
              <a:ext uri="{FF2B5EF4-FFF2-40B4-BE49-F238E27FC236}">
                <a16:creationId xmlns:a16="http://schemas.microsoft.com/office/drawing/2014/main" id="{E51DD70F-DE42-422C-A7E1-581FAE35F361}"/>
              </a:ext>
            </a:extLst>
          </p:cNvPr>
          <p:cNvSpPr/>
          <p:nvPr/>
        </p:nvSpPr>
        <p:spPr>
          <a:xfrm rot="3218114">
            <a:off x="8141046" y="588138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5E7A525-CB26-4BB9-B788-94D77C611E1B}"/>
              </a:ext>
            </a:extLst>
          </p:cNvPr>
          <p:cNvSpPr/>
          <p:nvPr/>
        </p:nvSpPr>
        <p:spPr>
          <a:xfrm>
            <a:off x="0" y="0"/>
            <a:ext cx="464820" cy="392992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455D1F6-AC98-42A7-A49F-B9B8979EFB9C}"/>
              </a:ext>
            </a:extLst>
          </p:cNvPr>
          <p:cNvSpPr/>
          <p:nvPr/>
        </p:nvSpPr>
        <p:spPr>
          <a:xfrm rot="5400000">
            <a:off x="5905500" y="-5440680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A32E76-D9AF-457D-A849-4CE6AA3C8A41}"/>
              </a:ext>
            </a:extLst>
          </p:cNvPr>
          <p:cNvSpPr/>
          <p:nvPr/>
        </p:nvSpPr>
        <p:spPr>
          <a:xfrm>
            <a:off x="11727180" y="0"/>
            <a:ext cx="464820" cy="372704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4EBCAD0-28BF-4F41-9FF9-24637DB83F93}"/>
              </a:ext>
            </a:extLst>
          </p:cNvPr>
          <p:cNvSpPr/>
          <p:nvPr/>
        </p:nvSpPr>
        <p:spPr>
          <a:xfrm>
            <a:off x="11727180" y="3727048"/>
            <a:ext cx="464820" cy="124430"/>
          </a:xfrm>
          <a:custGeom>
            <a:avLst/>
            <a:gdLst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64820 w 464820"/>
              <a:gd name="connsiteY2" fmla="*/ 124430 h 124430"/>
              <a:gd name="connsiteX3" fmla="*/ 0 w 464820"/>
              <a:gd name="connsiteY3" fmla="*/ 124430 h 124430"/>
              <a:gd name="connsiteX4" fmla="*/ 0 w 464820"/>
              <a:gd name="connsiteY4" fmla="*/ 0 h 124430"/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57200 w 464820"/>
              <a:gd name="connsiteY2" fmla="*/ 17750 h 124430"/>
              <a:gd name="connsiteX3" fmla="*/ 0 w 464820"/>
              <a:gd name="connsiteY3" fmla="*/ 124430 h 124430"/>
              <a:gd name="connsiteX4" fmla="*/ 0 w 464820"/>
              <a:gd name="connsiteY4" fmla="*/ 0 h 12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4430">
                <a:moveTo>
                  <a:pt x="0" y="0"/>
                </a:moveTo>
                <a:lnTo>
                  <a:pt x="464820" y="0"/>
                </a:lnTo>
                <a:lnTo>
                  <a:pt x="457200" y="17750"/>
                </a:lnTo>
                <a:lnTo>
                  <a:pt x="0" y="12443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6408E02-E0E7-4925-BF36-8FE41C7F05B0}"/>
              </a:ext>
            </a:extLst>
          </p:cNvPr>
          <p:cNvSpPr/>
          <p:nvPr/>
        </p:nvSpPr>
        <p:spPr>
          <a:xfrm>
            <a:off x="0" y="3929920"/>
            <a:ext cx="464820" cy="399681"/>
          </a:xfrm>
          <a:custGeom>
            <a:avLst/>
            <a:gdLst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64820 w 464820"/>
              <a:gd name="connsiteY2" fmla="*/ 399681 h 399681"/>
              <a:gd name="connsiteX3" fmla="*/ 0 w 464820"/>
              <a:gd name="connsiteY3" fmla="*/ 399681 h 399681"/>
              <a:gd name="connsiteX4" fmla="*/ 0 w 464820"/>
              <a:gd name="connsiteY4" fmla="*/ 0 h 399681"/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55295 w 464820"/>
              <a:gd name="connsiteY2" fmla="*/ 140601 h 399681"/>
              <a:gd name="connsiteX3" fmla="*/ 0 w 464820"/>
              <a:gd name="connsiteY3" fmla="*/ 399681 h 399681"/>
              <a:gd name="connsiteX4" fmla="*/ 0 w 464820"/>
              <a:gd name="connsiteY4" fmla="*/ 0 h 399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399681">
                <a:moveTo>
                  <a:pt x="0" y="0"/>
                </a:moveTo>
                <a:lnTo>
                  <a:pt x="464820" y="0"/>
                </a:lnTo>
                <a:lnTo>
                  <a:pt x="455295" y="140601"/>
                </a:lnTo>
                <a:lnTo>
                  <a:pt x="0" y="39968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7323146-E9B1-4F9C-9F15-E4C7CF604F47}"/>
              </a:ext>
            </a:extLst>
          </p:cNvPr>
          <p:cNvSpPr txBox="1"/>
          <p:nvPr/>
        </p:nvSpPr>
        <p:spPr>
          <a:xfrm>
            <a:off x="1673671" y="3845691"/>
            <a:ext cx="36717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dirty="0">
                <a:solidFill>
                  <a:srgbClr val="046DA7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가천대학교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1673671" y="4519078"/>
            <a:ext cx="50814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800" dirty="0">
                <a:solidFill>
                  <a:srgbClr val="1D2D6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감사합니다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A88A032-AB2E-4B44-861E-4A82DC9B87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87951" y="5752602"/>
            <a:ext cx="2015489" cy="7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374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89</TotalTime>
  <Words>409</Words>
  <Application>Microsoft Office PowerPoint</Application>
  <PresentationFormat>와이드스크린</PresentationFormat>
  <Paragraphs>142</Paragraphs>
  <Slides>8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7" baseType="lpstr">
      <vt:lpstr>NANUMGOTHIC EXTRABOLD</vt:lpstr>
      <vt:lpstr>Noto Sans CJK KR Bold</vt:lpstr>
      <vt:lpstr>Noto Sans CJK KR Medium</vt:lpstr>
      <vt:lpstr>system-ui</vt:lpstr>
      <vt:lpstr>NanumGothic</vt:lpstr>
      <vt:lpstr>맑은 고딕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Microsoft Office User</dc:creator>
  <cp:lastModifiedBy>안인성</cp:lastModifiedBy>
  <cp:revision>77</cp:revision>
  <dcterms:created xsi:type="dcterms:W3CDTF">2021-07-18T09:05:48Z</dcterms:created>
  <dcterms:modified xsi:type="dcterms:W3CDTF">2025-02-23T14:30:30Z</dcterms:modified>
</cp:coreProperties>
</file>